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charts/chart2.xml" ContentType="application/vnd.openxmlformats-officedocument.drawingml.chart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80" r:id="rId3"/>
    <p:sldId id="271" r:id="rId4"/>
    <p:sldId id="281" r:id="rId5"/>
    <p:sldId id="278" r:id="rId6"/>
    <p:sldId id="274" r:id="rId7"/>
    <p:sldId id="277" r:id="rId8"/>
    <p:sldId id="282" r:id="rId9"/>
    <p:sldId id="272" r:id="rId10"/>
    <p:sldId id="273" r:id="rId11"/>
    <p:sldId id="283" r:id="rId12"/>
    <p:sldId id="275" r:id="rId13"/>
    <p:sldId id="284" r:id="rId14"/>
    <p:sldId id="276" r:id="rId15"/>
    <p:sldId id="257" r:id="rId16"/>
    <p:sldId id="279" r:id="rId17"/>
    <p:sldId id="285" r:id="rId18"/>
    <p:sldId id="286" r:id="rId19"/>
  </p:sldIdLst>
  <p:sldSz cx="10688638" cy="7562850"/>
  <p:notesSz cx="6858000" cy="9144000"/>
  <p:custDataLst>
    <p:tags r:id="rId20"/>
  </p:custDataLst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2D"/>
    <a:srgbClr val="EFF3EA"/>
    <a:srgbClr val="DEE7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 varScale="1">
        <p:scale>
          <a:sx n="85" d="100"/>
          <a:sy n="85" d="100"/>
        </p:scale>
        <p:origin x="744" y="96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348487148129264"/>
          <c:y val="0.22334837472516617"/>
          <c:w val="0.72702130606870408"/>
          <c:h val="0.62601070399546277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R$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dPt>
            <c:idx val="9"/>
            <c:bubble3D val="0"/>
          </c:dPt>
          <c:dPt>
            <c:idx val="10"/>
            <c:bubble3D val="0"/>
          </c:dPt>
          <c:dPt>
            <c:idx val="11"/>
            <c:bubble3D val="0"/>
          </c:dPt>
          <c:dLbls>
            <c:dLbl>
              <c:idx val="0"/>
              <c:layout>
                <c:manualLayout>
                  <c:x val="3.0966251772392851E-2"/>
                  <c:y val="1.52174795245069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5130406090027437E-2"/>
                  <c:y val="-2.944706645942837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743106928791444E-2"/>
                  <c:y val="-8.691039829150351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6.1701839553115756E-3"/>
                  <c:y val="-3.571087418728623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1470770887776202"/>
                  <c:y val="-6.564083183145277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8903598921683479E-2"/>
                  <c:y val="-7.310783466078453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6.428842274343026E-2"/>
                  <c:y val="-0.1312557474512631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1.6648599256963843E-2"/>
                  <c:y val="-9.262956524572868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160686585578546E-2"/>
                  <c:y val="-0.110385688986381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7976"/>
                  <c:y val="-4.40039635136772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14"/>
                  <c:y val="-4.92651409379433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GLOBO</c:v>
                </c:pt>
                <c:pt idx="1">
                  <c:v>RECORD</c:v>
                </c:pt>
                <c:pt idx="2">
                  <c:v>SBT</c:v>
                </c:pt>
                <c:pt idx="3">
                  <c:v>BAND TV</c:v>
                </c:pt>
                <c:pt idx="4">
                  <c:v>REDE TV!</c:v>
                </c:pt>
              </c:strCache>
            </c:strRef>
          </c:cat>
          <c:val>
            <c:numRef>
              <c:f>Plan1!$B$2:$B$6</c:f>
              <c:numCache>
                <c:formatCode>_-[$R$-416]\ * #,##0.0_-;\-[$R$-416]\ * #,##0.0_-;_-[$R$-416]\ * "-"??_-;_-@_-</c:formatCode>
                <c:ptCount val="5"/>
                <c:pt idx="0">
                  <c:v>266.49458404949257</c:v>
                </c:pt>
                <c:pt idx="1">
                  <c:v>41.516264304647969</c:v>
                </c:pt>
                <c:pt idx="2">
                  <c:v>68.561405448255243</c:v>
                </c:pt>
                <c:pt idx="3">
                  <c:v>15.135531046638071</c:v>
                </c:pt>
                <c:pt idx="4">
                  <c:v>2.33654136159611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400">
          <a:latin typeface="Eras Demi ITC" panose="020B0805030504020804" pitchFamily="34" charset="0"/>
        </a:defRPr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997288217357625E-2"/>
          <c:y val="7.7004778968787812E-3"/>
          <c:w val="0.97831316566925741"/>
          <c:h val="0.786224369496031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hare de Investimento</c:v>
                </c:pt>
              </c:strCache>
            </c:strRef>
          </c:tx>
          <c:spPr>
            <a:solidFill>
              <a:srgbClr val="00642D"/>
            </a:solidFill>
          </c:spPr>
          <c:invertIfNegative val="0"/>
          <c:dLbls>
            <c:dLbl>
              <c:idx val="0"/>
              <c:layout>
                <c:manualLayout>
                  <c:x val="5.6310725242235881E-3"/>
                  <c:y val="1.0276837924865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8.4466087863352794E-3"/>
                  <c:y val="9.921617989670043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6</c:f>
              <c:strCache>
                <c:ptCount val="5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  <c:pt idx="4">
                  <c:v>REDE TV!</c:v>
                </c:pt>
              </c:strCache>
            </c:strRef>
          </c:cat>
          <c:val>
            <c:numRef>
              <c:f>Plan1!$B$2:$B$6</c:f>
              <c:numCache>
                <c:formatCode>0.0%</c:formatCode>
                <c:ptCount val="5"/>
                <c:pt idx="0">
                  <c:v>3.8410732092479416E-2</c:v>
                </c:pt>
                <c:pt idx="1">
                  <c:v>0.67630610650397294</c:v>
                </c:pt>
                <c:pt idx="2">
                  <c:v>0.10535937594608615</c:v>
                </c:pt>
                <c:pt idx="3">
                  <c:v>0.17399414453592935</c:v>
                </c:pt>
                <c:pt idx="4">
                  <c:v>5.9296409215321387E-3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hare de Audiência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9.854376917391253E-3"/>
                  <c:y val="6.5023106481134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6</c:f>
              <c:strCache>
                <c:ptCount val="5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  <c:pt idx="4">
                  <c:v>REDE TV!</c:v>
                </c:pt>
              </c:strCache>
            </c:strRef>
          </c:cat>
          <c:val>
            <c:numRef>
              <c:f>Plan1!$C$2:$C$6</c:f>
              <c:numCache>
                <c:formatCode>0.0%</c:formatCode>
                <c:ptCount val="5"/>
                <c:pt idx="0">
                  <c:v>3.7999999999999999E-2</c:v>
                </c:pt>
                <c:pt idx="1">
                  <c:v>0.38800000000000001</c:v>
                </c:pt>
                <c:pt idx="2">
                  <c:v>0.125</c:v>
                </c:pt>
                <c:pt idx="3">
                  <c:v>0.121</c:v>
                </c:pt>
                <c:pt idx="4">
                  <c:v>1.7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"/>
        <c:axId val="320252784"/>
        <c:axId val="320253344"/>
      </c:barChart>
      <c:scatterChart>
        <c:scatterStyle val="lineMarker"/>
        <c:varyColors val="0"/>
        <c:ser>
          <c:idx val="2"/>
          <c:order val="2"/>
          <c:tx>
            <c:strRef>
              <c:f>Plan1!$D$1</c:f>
              <c:strCache>
                <c:ptCount val="1"/>
                <c:pt idx="0">
                  <c:v>Índice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17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1"/>
              <c:layout>
                <c:manualLayout>
                  <c:x val="-1.8405995710713153E-2"/>
                  <c:y val="-5.76694601469383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Plan1!$A$2:$A$6</c:f>
              <c:strCache>
                <c:ptCount val="5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  <c:pt idx="4">
                  <c:v>REDE TV!</c:v>
                </c:pt>
              </c:strCache>
            </c:strRef>
          </c:xVal>
          <c:yVal>
            <c:numRef>
              <c:f>Plan1!$D$2:$D$6</c:f>
              <c:numCache>
                <c:formatCode>0</c:formatCode>
                <c:ptCount val="5"/>
                <c:pt idx="0">
                  <c:v>101.08087392757741</c:v>
                </c:pt>
                <c:pt idx="1">
                  <c:v>174.30569755257034</c:v>
                </c:pt>
                <c:pt idx="2">
                  <c:v>84.287500756868923</c:v>
                </c:pt>
                <c:pt idx="3">
                  <c:v>143.79681366605732</c:v>
                </c:pt>
                <c:pt idx="4">
                  <c:v>34.88024071489493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0254464"/>
        <c:axId val="320253904"/>
      </c:scatterChart>
      <c:catAx>
        <c:axId val="3202527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0">
                <a:latin typeface="Eras Demi ITC" panose="020B0805030504020804" pitchFamily="34" charset="0"/>
              </a:defRPr>
            </a:pPr>
            <a:endParaRPr lang="pt-BR"/>
          </a:p>
        </c:txPr>
        <c:crossAx val="320253344"/>
        <c:crosses val="autoZero"/>
        <c:auto val="1"/>
        <c:lblAlgn val="ctr"/>
        <c:lblOffset val="100"/>
        <c:noMultiLvlLbl val="0"/>
      </c:catAx>
      <c:valAx>
        <c:axId val="320253344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solidFill>
            <a:schemeClr val="bg1"/>
          </a:solidFill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320252784"/>
        <c:crosses val="autoZero"/>
        <c:crossBetween val="between"/>
      </c:valAx>
      <c:valAx>
        <c:axId val="32025390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320254464"/>
        <c:crosses val="max"/>
        <c:crossBetween val="midCat"/>
      </c:valAx>
      <c:valAx>
        <c:axId val="320254464"/>
        <c:scaling>
          <c:orientation val="minMax"/>
        </c:scaling>
        <c:delete val="1"/>
        <c:axPos val="b"/>
        <c:majorTickMark val="out"/>
        <c:minorTickMark val="none"/>
        <c:tickLblPos val="nextTo"/>
        <c:crossAx val="320253904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12267524274578191"/>
          <c:y val="0.91960429955767564"/>
          <c:w val="0.75327019804667261"/>
          <c:h val="7.8521905051894741E-2"/>
        </c:manualLayout>
      </c:layout>
      <c:overlay val="0"/>
      <c:txPr>
        <a:bodyPr/>
        <a:lstStyle/>
        <a:p>
          <a:pPr>
            <a:defRPr sz="1800" b="0">
              <a:latin typeface="Eras Medium ITC" panose="020B0602030504020804" pitchFamily="34" charset="0"/>
            </a:defRPr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348487148129264"/>
          <c:y val="0.22334837472516617"/>
          <c:w val="0.72702130606870408"/>
          <c:h val="0.62601070399546277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TRP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dPt>
            <c:idx val="9"/>
            <c:bubble3D val="0"/>
          </c:dPt>
          <c:dPt>
            <c:idx val="10"/>
            <c:bubble3D val="0"/>
          </c:dPt>
          <c:dPt>
            <c:idx val="11"/>
            <c:bubble3D val="0"/>
          </c:dPt>
          <c:dLbls>
            <c:dLbl>
              <c:idx val="0"/>
              <c:layout>
                <c:manualLayout>
                  <c:x val="3.0966251772392851E-2"/>
                  <c:y val="1.52174795245069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27132639009800735"/>
                  <c:y val="-1.6768266492986411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743106928791444E-2"/>
                  <c:y val="-8.691039829150351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5573087955822122E-2"/>
                  <c:y val="-5.201622952170612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1470770887776202"/>
                  <c:y val="-6.564083183145277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8903598921683479E-2"/>
                  <c:y val="-7.310783466078453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6.428842274343026E-2"/>
                  <c:y val="-0.1312557474512631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1.6648599256963843E-2"/>
                  <c:y val="-9.262956524572868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160686585578546E-2"/>
                  <c:y val="-0.110385688986381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7976"/>
                  <c:y val="-4.40039635136772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14"/>
                  <c:y val="-4.92651409379433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GLOBO</c:v>
                </c:pt>
                <c:pt idx="1">
                  <c:v>RECORD</c:v>
                </c:pt>
                <c:pt idx="2">
                  <c:v>SBT</c:v>
                </c:pt>
                <c:pt idx="3">
                  <c:v>BAND TV</c:v>
                </c:pt>
                <c:pt idx="4">
                  <c:v>REDE TV!</c:v>
                </c:pt>
              </c:strCache>
            </c:strRef>
          </c:cat>
          <c:val>
            <c:numRef>
              <c:f>Plan1!$B$2:$B$6</c:f>
              <c:numCache>
                <c:formatCode>#,##0</c:formatCode>
                <c:ptCount val="5"/>
                <c:pt idx="0">
                  <c:v>25201.790600000011</c:v>
                </c:pt>
                <c:pt idx="1">
                  <c:v>8910.4359000000022</c:v>
                </c:pt>
                <c:pt idx="2">
                  <c:v>20472.817999999999</c:v>
                </c:pt>
                <c:pt idx="3">
                  <c:v>3693.5516999999995</c:v>
                </c:pt>
                <c:pt idx="4">
                  <c:v>881.378500000000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400">
          <a:latin typeface="Eras Demi ITC" panose="020B0805030504020804" pitchFamily="34" charset="0"/>
        </a:defRPr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348487148129264"/>
          <c:y val="0.22334837472516617"/>
          <c:w val="0.72702130606870408"/>
          <c:h val="0.62601070399546277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R$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dPt>
            <c:idx val="9"/>
            <c:bubble3D val="0"/>
          </c:dPt>
          <c:dPt>
            <c:idx val="10"/>
            <c:bubble3D val="0"/>
          </c:dPt>
          <c:dPt>
            <c:idx val="11"/>
            <c:bubble3D val="0"/>
          </c:dPt>
          <c:dLbls>
            <c:dLbl>
              <c:idx val="0"/>
              <c:layout>
                <c:manualLayout>
                  <c:x val="4.3718444517677695E-2"/>
                  <c:y val="-5.619149810154363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2340077553613067"/>
                  <c:y val="-1.6768266492986411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743106928791444E-2"/>
                  <c:y val="-8.691039829150351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5573087955822122E-2"/>
                  <c:y val="-5.201622952170612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1470770887776202"/>
                  <c:y val="-6.564083183145277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8903598921683479E-2"/>
                  <c:y val="-7.310783466078453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6.428842274343026E-2"/>
                  <c:y val="-0.1312557474512631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1.6648599256963843E-2"/>
                  <c:y val="-9.262956524572868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160686585578546E-2"/>
                  <c:y val="-0.110385688986381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7976"/>
                  <c:y val="-4.40039635136772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14"/>
                  <c:y val="-4.92651409379433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GLOBO</c:v>
                </c:pt>
                <c:pt idx="1">
                  <c:v>RECORD</c:v>
                </c:pt>
                <c:pt idx="2">
                  <c:v>SBT</c:v>
                </c:pt>
                <c:pt idx="3">
                  <c:v>BAND TV</c:v>
                </c:pt>
                <c:pt idx="4">
                  <c:v>REDE TV!</c:v>
                </c:pt>
              </c:strCache>
            </c:strRef>
          </c:cat>
          <c:val>
            <c:numRef>
              <c:f>Plan1!$B$2:$B$6</c:f>
              <c:numCache>
                <c:formatCode>#,##0</c:formatCode>
                <c:ptCount val="5"/>
                <c:pt idx="0">
                  <c:v>44364.636600000005</c:v>
                </c:pt>
                <c:pt idx="1">
                  <c:v>16946.636799999997</c:v>
                </c:pt>
                <c:pt idx="2">
                  <c:v>40290.816199999987</c:v>
                </c:pt>
                <c:pt idx="3">
                  <c:v>9731.1178000000054</c:v>
                </c:pt>
                <c:pt idx="4">
                  <c:v>1692.3782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400">
          <a:latin typeface="Eras Demi ITC" panose="020B0805030504020804" pitchFamily="34" charset="0"/>
        </a:defRPr>
      </a:pPr>
      <a:endParaRPr lang="pt-B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30B978-3672-4BB1-B737-28C530C3D57F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pt-BR"/>
        </a:p>
      </dgm:t>
    </dgm:pt>
    <dgm:pt modelId="{BF628C1C-9BAF-4684-9806-B20BA76FF7AE}">
      <dgm:prSet/>
      <dgm:spPr/>
      <dgm:t>
        <a:bodyPr/>
        <a:lstStyle/>
        <a:p>
          <a:pPr rtl="0"/>
          <a:r>
            <a:rPr lang="pt-BR" dirty="0" smtClean="0">
              <a:latin typeface="Eras Medium ITC" panose="020B0602030504020804" pitchFamily="34" charset="0"/>
            </a:rPr>
            <a:t>No target MM ABCDE 18+ o CPP R$ da Band TV fica 38% menor em relação a média geral e é a terceira emissora com melhor rentabilidade.</a:t>
          </a:r>
          <a:endParaRPr lang="pt-BR" dirty="0">
            <a:latin typeface="Eras Medium ITC" panose="020B0602030504020804" pitchFamily="34" charset="0"/>
          </a:endParaRPr>
        </a:p>
      </dgm:t>
    </dgm:pt>
    <dgm:pt modelId="{AE113BEA-A90F-4D22-8677-03BBF8D9FA32}" type="parTrans" cxnId="{34211B8F-2414-4EE3-AEAA-993F7085A271}">
      <dgm:prSet/>
      <dgm:spPr/>
      <dgm:t>
        <a:bodyPr/>
        <a:lstStyle/>
        <a:p>
          <a:endParaRPr lang="pt-BR"/>
        </a:p>
      </dgm:t>
    </dgm:pt>
    <dgm:pt modelId="{F341EAFD-189E-4D24-B1F6-717E99671FCC}" type="sibTrans" cxnId="{34211B8F-2414-4EE3-AEAA-993F7085A271}">
      <dgm:prSet/>
      <dgm:spPr/>
      <dgm:t>
        <a:bodyPr/>
        <a:lstStyle/>
        <a:p>
          <a:endParaRPr lang="pt-BR"/>
        </a:p>
      </dgm:t>
    </dgm:pt>
    <dgm:pt modelId="{4FBF46DC-6DD0-4C53-9BEA-DFD448CE1185}" type="pres">
      <dgm:prSet presAssocID="{4B30B978-3672-4BB1-B737-28C530C3D57F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57B8CCBF-7850-4C3C-BD11-B2A9AF083C70}" type="pres">
      <dgm:prSet presAssocID="{4B30B978-3672-4BB1-B737-28C530C3D57F}" presName="arrow" presStyleLbl="bgShp" presStyleIdx="0" presStyleCnt="1" custScaleX="117647"/>
      <dgm:spPr>
        <a:solidFill>
          <a:schemeClr val="accent2"/>
        </a:solidFill>
      </dgm:spPr>
    </dgm:pt>
    <dgm:pt modelId="{F0E1CE46-CE52-4846-97B3-E94231616804}" type="pres">
      <dgm:prSet presAssocID="{4B30B978-3672-4BB1-B737-28C530C3D57F}" presName="linearProcess" presStyleCnt="0"/>
      <dgm:spPr/>
    </dgm:pt>
    <dgm:pt modelId="{3B642A7C-50C9-414A-A63E-4FF4BF2F4CD1}" type="pres">
      <dgm:prSet presAssocID="{BF628C1C-9BAF-4684-9806-B20BA76FF7AE}" presName="textNode" presStyleLbl="node1" presStyleIdx="0" presStyleCnt="1" custScaleX="93163" custScaleY="25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5F5516D2-B1AB-42CC-B4BE-242EF420F6F4}" type="presOf" srcId="{4B30B978-3672-4BB1-B737-28C530C3D57F}" destId="{4FBF46DC-6DD0-4C53-9BEA-DFD448CE1185}" srcOrd="0" destOrd="0" presId="urn:microsoft.com/office/officeart/2005/8/layout/hProcess9"/>
    <dgm:cxn modelId="{34211B8F-2414-4EE3-AEAA-993F7085A271}" srcId="{4B30B978-3672-4BB1-B737-28C530C3D57F}" destId="{BF628C1C-9BAF-4684-9806-B20BA76FF7AE}" srcOrd="0" destOrd="0" parTransId="{AE113BEA-A90F-4D22-8677-03BBF8D9FA32}" sibTransId="{F341EAFD-189E-4D24-B1F6-717E99671FCC}"/>
    <dgm:cxn modelId="{B3EA197F-FA94-4390-AE97-67D5300AD513}" type="presOf" srcId="{BF628C1C-9BAF-4684-9806-B20BA76FF7AE}" destId="{3B642A7C-50C9-414A-A63E-4FF4BF2F4CD1}" srcOrd="0" destOrd="0" presId="urn:microsoft.com/office/officeart/2005/8/layout/hProcess9"/>
    <dgm:cxn modelId="{23AB8BDA-F40D-46F5-AF63-B09C4FA79798}" type="presParOf" srcId="{4FBF46DC-6DD0-4C53-9BEA-DFD448CE1185}" destId="{57B8CCBF-7850-4C3C-BD11-B2A9AF083C70}" srcOrd="0" destOrd="0" presId="urn:microsoft.com/office/officeart/2005/8/layout/hProcess9"/>
    <dgm:cxn modelId="{0228F90A-4BFB-43F5-AEAD-AFB422E4C726}" type="presParOf" srcId="{4FBF46DC-6DD0-4C53-9BEA-DFD448CE1185}" destId="{F0E1CE46-CE52-4846-97B3-E94231616804}" srcOrd="1" destOrd="0" presId="urn:microsoft.com/office/officeart/2005/8/layout/hProcess9"/>
    <dgm:cxn modelId="{CE761439-C770-4007-B540-EF8428795F65}" type="presParOf" srcId="{F0E1CE46-CE52-4846-97B3-E94231616804}" destId="{3B642A7C-50C9-414A-A63E-4FF4BF2F4CD1}" srcOrd="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30B978-3672-4BB1-B737-28C530C3D57F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pt-BR"/>
        </a:p>
      </dgm:t>
    </dgm:pt>
    <dgm:pt modelId="{BF628C1C-9BAF-4684-9806-B20BA76FF7AE}">
      <dgm:prSet/>
      <dgm:spPr/>
      <dgm:t>
        <a:bodyPr/>
        <a:lstStyle/>
        <a:p>
          <a:pPr rtl="0"/>
          <a:r>
            <a:rPr lang="pt-BR" dirty="0" smtClean="0">
              <a:latin typeface="Eras Medium ITC" panose="020B0602030504020804" pitchFamily="34" charset="0"/>
            </a:rPr>
            <a:t>O CPP R$ Domiciliar da Band TV é o segundo melhor nas programações da Unilever e 55% menor em relação a média geral.</a:t>
          </a:r>
          <a:endParaRPr lang="pt-BR" dirty="0">
            <a:latin typeface="Eras Medium ITC" panose="020B0602030504020804" pitchFamily="34" charset="0"/>
          </a:endParaRPr>
        </a:p>
      </dgm:t>
    </dgm:pt>
    <dgm:pt modelId="{AE113BEA-A90F-4D22-8677-03BBF8D9FA32}" type="parTrans" cxnId="{34211B8F-2414-4EE3-AEAA-993F7085A271}">
      <dgm:prSet/>
      <dgm:spPr/>
      <dgm:t>
        <a:bodyPr/>
        <a:lstStyle/>
        <a:p>
          <a:endParaRPr lang="pt-BR"/>
        </a:p>
      </dgm:t>
    </dgm:pt>
    <dgm:pt modelId="{F341EAFD-189E-4D24-B1F6-717E99671FCC}" type="sibTrans" cxnId="{34211B8F-2414-4EE3-AEAA-993F7085A271}">
      <dgm:prSet/>
      <dgm:spPr/>
      <dgm:t>
        <a:bodyPr/>
        <a:lstStyle/>
        <a:p>
          <a:endParaRPr lang="pt-BR"/>
        </a:p>
      </dgm:t>
    </dgm:pt>
    <dgm:pt modelId="{4FBF46DC-6DD0-4C53-9BEA-DFD448CE1185}" type="pres">
      <dgm:prSet presAssocID="{4B30B978-3672-4BB1-B737-28C530C3D57F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57B8CCBF-7850-4C3C-BD11-B2A9AF083C70}" type="pres">
      <dgm:prSet presAssocID="{4B30B978-3672-4BB1-B737-28C530C3D57F}" presName="arrow" presStyleLbl="bgShp" presStyleIdx="0" presStyleCnt="1" custFlipHor="1" custScaleX="117637" custLinFactNeighborX="-6274" custLinFactNeighborY="1006"/>
      <dgm:spPr>
        <a:solidFill>
          <a:schemeClr val="accent2"/>
        </a:solidFill>
      </dgm:spPr>
    </dgm:pt>
    <dgm:pt modelId="{F0E1CE46-CE52-4846-97B3-E94231616804}" type="pres">
      <dgm:prSet presAssocID="{4B30B978-3672-4BB1-B737-28C530C3D57F}" presName="linearProcess" presStyleCnt="0"/>
      <dgm:spPr/>
    </dgm:pt>
    <dgm:pt modelId="{3B642A7C-50C9-414A-A63E-4FF4BF2F4CD1}" type="pres">
      <dgm:prSet presAssocID="{BF628C1C-9BAF-4684-9806-B20BA76FF7AE}" presName="textNode" presStyleLbl="node1" presStyleIdx="0" presStyleCnt="1" custScaleX="96620" custScaleY="25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9357687-0ACF-46F1-8218-0A079A8D0FD8}" type="presOf" srcId="{BF628C1C-9BAF-4684-9806-B20BA76FF7AE}" destId="{3B642A7C-50C9-414A-A63E-4FF4BF2F4CD1}" srcOrd="0" destOrd="0" presId="urn:microsoft.com/office/officeart/2005/8/layout/hProcess9"/>
    <dgm:cxn modelId="{34211B8F-2414-4EE3-AEAA-993F7085A271}" srcId="{4B30B978-3672-4BB1-B737-28C530C3D57F}" destId="{BF628C1C-9BAF-4684-9806-B20BA76FF7AE}" srcOrd="0" destOrd="0" parTransId="{AE113BEA-A90F-4D22-8677-03BBF8D9FA32}" sibTransId="{F341EAFD-189E-4D24-B1F6-717E99671FCC}"/>
    <dgm:cxn modelId="{6A4B41E7-4E5B-4E76-8A0E-A45F76225B4E}" type="presOf" srcId="{4B30B978-3672-4BB1-B737-28C530C3D57F}" destId="{4FBF46DC-6DD0-4C53-9BEA-DFD448CE1185}" srcOrd="0" destOrd="0" presId="urn:microsoft.com/office/officeart/2005/8/layout/hProcess9"/>
    <dgm:cxn modelId="{2BC30600-E0F6-49EF-9A75-F6CDCF6CD4E9}" type="presParOf" srcId="{4FBF46DC-6DD0-4C53-9BEA-DFD448CE1185}" destId="{57B8CCBF-7850-4C3C-BD11-B2A9AF083C70}" srcOrd="0" destOrd="0" presId="urn:microsoft.com/office/officeart/2005/8/layout/hProcess9"/>
    <dgm:cxn modelId="{A002CFFA-F5A9-4BA3-A010-B361D9C6EE1D}" type="presParOf" srcId="{4FBF46DC-6DD0-4C53-9BEA-DFD448CE1185}" destId="{F0E1CE46-CE52-4846-97B3-E94231616804}" srcOrd="1" destOrd="0" presId="urn:microsoft.com/office/officeart/2005/8/layout/hProcess9"/>
    <dgm:cxn modelId="{D954CECB-EF60-4811-8C2D-E4987EE62CB5}" type="presParOf" srcId="{F0E1CE46-CE52-4846-97B3-E94231616804}" destId="{3B642A7C-50C9-414A-A63E-4FF4BF2F4CD1}" srcOrd="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B8CCBF-7850-4C3C-BD11-B2A9AF083C70}">
      <dsp:nvSpPr>
        <dsp:cNvPr id="0" name=""/>
        <dsp:cNvSpPr/>
      </dsp:nvSpPr>
      <dsp:spPr>
        <a:xfrm>
          <a:off x="1" y="0"/>
          <a:ext cx="5060947" cy="1200329"/>
        </a:xfrm>
        <a:prstGeom prst="rightArrow">
          <a:avLst/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642A7C-50C9-414A-A63E-4FF4BF2F4CD1}">
      <dsp:nvSpPr>
        <dsp:cNvPr id="0" name=""/>
        <dsp:cNvSpPr/>
      </dsp:nvSpPr>
      <dsp:spPr>
        <a:xfrm>
          <a:off x="688704" y="0"/>
          <a:ext cx="3683541" cy="120032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kern="1200" dirty="0" smtClean="0">
              <a:latin typeface="Eras Medium ITC" panose="020B0602030504020804" pitchFamily="34" charset="0"/>
            </a:rPr>
            <a:t>No target MM ABCDE 18+ o CPP R$ da Band TV fica 38% menor em relação a média geral e é a terceira emissora com melhor rentabilidade.</a:t>
          </a:r>
          <a:endParaRPr lang="pt-BR" sz="1700" kern="1200" dirty="0">
            <a:latin typeface="Eras Medium ITC" panose="020B0602030504020804" pitchFamily="34" charset="0"/>
          </a:endParaRPr>
        </a:p>
      </dsp:txBody>
      <dsp:txXfrm>
        <a:off x="747299" y="58595"/>
        <a:ext cx="3566351" cy="10831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B8CCBF-7850-4C3C-BD11-B2A9AF083C70}">
      <dsp:nvSpPr>
        <dsp:cNvPr id="0" name=""/>
        <dsp:cNvSpPr/>
      </dsp:nvSpPr>
      <dsp:spPr>
        <a:xfrm flipH="1">
          <a:off x="0" y="0"/>
          <a:ext cx="5060517" cy="1200329"/>
        </a:xfrm>
        <a:prstGeom prst="rightArrow">
          <a:avLst/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642A7C-50C9-414A-A63E-4FF4BF2F4CD1}">
      <dsp:nvSpPr>
        <dsp:cNvPr id="0" name=""/>
        <dsp:cNvSpPr/>
      </dsp:nvSpPr>
      <dsp:spPr>
        <a:xfrm>
          <a:off x="780811" y="0"/>
          <a:ext cx="3499327" cy="120032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kern="1200" dirty="0" smtClean="0">
              <a:latin typeface="Eras Medium ITC" panose="020B0602030504020804" pitchFamily="34" charset="0"/>
            </a:rPr>
            <a:t>O CPP R$ Domiciliar da Band TV é o segundo melhor nas programações da Unilever e 55% menor em relação a média geral.</a:t>
          </a:r>
          <a:endParaRPr lang="pt-BR" sz="1700" kern="1200" dirty="0">
            <a:latin typeface="Eras Medium ITC" panose="020B0602030504020804" pitchFamily="34" charset="0"/>
          </a:endParaRPr>
        </a:p>
      </dsp:txBody>
      <dsp:txXfrm>
        <a:off x="839406" y="58595"/>
        <a:ext cx="3382137" cy="10831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1.emf"/><Relationship Id="rId6" Type="http://schemas.openxmlformats.org/officeDocument/2006/relationships/image" Target="../media/image14.emf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image" Target="../media/image1.emf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0607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4239274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err="1" smtClean="0">
                <a:latin typeface="Eras Demi ITC" panose="020B0805030504020804" pitchFamily="34" charset="0"/>
              </a:rPr>
              <a:t>Inteligência</a:t>
            </a:r>
            <a:r>
              <a:rPr lang="en-US" sz="1400" dirty="0" smtClean="0">
                <a:latin typeface="Eras Demi ITC" panose="020B0805030504020804" pitchFamily="34" charset="0"/>
              </a:rPr>
              <a:t> de Mercado </a:t>
            </a:r>
            <a:r>
              <a:rPr lang="en-US" sz="1400" dirty="0" err="1" smtClean="0">
                <a:latin typeface="Eras Demi ITC" panose="020B0805030504020804" pitchFamily="34" charset="0"/>
              </a:rPr>
              <a:t>Grupo</a:t>
            </a:r>
            <a:r>
              <a:rPr lang="en-US" sz="1400" dirty="0" smtClean="0">
                <a:latin typeface="Eras Demi ITC" panose="020B0805030504020804" pitchFamily="34" charset="0"/>
              </a:rPr>
              <a:t> </a:t>
            </a:r>
            <a:r>
              <a:rPr lang="en-US" sz="1400" dirty="0" err="1" smtClean="0">
                <a:latin typeface="Eras Demi ITC" panose="020B0805030504020804" pitchFamily="34" charset="0"/>
              </a:rPr>
              <a:t>Bandeirantes</a:t>
            </a:r>
            <a:endParaRPr lang="en-US" sz="1400" dirty="0">
              <a:latin typeface="Eras Demi ITC" panose="020B0805030504020804" pitchFamily="34" charset="0"/>
            </a:endParaRP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14" t="729" r="16086" b="1"/>
          <a:stretch/>
        </p:blipFill>
        <p:spPr>
          <a:xfrm>
            <a:off x="945601" y="258162"/>
            <a:ext cx="640984" cy="662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20.emf"/><Relationship Id="rId21" Type="http://schemas.openxmlformats.org/officeDocument/2006/relationships/tags" Target="../tags/tag212.xml"/><Relationship Id="rId42" Type="http://schemas.openxmlformats.org/officeDocument/2006/relationships/tags" Target="../tags/tag233.xml"/><Relationship Id="rId47" Type="http://schemas.openxmlformats.org/officeDocument/2006/relationships/tags" Target="../tags/tag238.xml"/><Relationship Id="rId63" Type="http://schemas.openxmlformats.org/officeDocument/2006/relationships/tags" Target="../tags/tag254.xml"/><Relationship Id="rId68" Type="http://schemas.openxmlformats.org/officeDocument/2006/relationships/tags" Target="../tags/tag259.xml"/><Relationship Id="rId84" Type="http://schemas.openxmlformats.org/officeDocument/2006/relationships/tags" Target="../tags/tag275.xml"/><Relationship Id="rId89" Type="http://schemas.openxmlformats.org/officeDocument/2006/relationships/tags" Target="../tags/tag280.xml"/><Relationship Id="rId112" Type="http://schemas.openxmlformats.org/officeDocument/2006/relationships/tags" Target="../tags/tag303.xml"/><Relationship Id="rId16" Type="http://schemas.openxmlformats.org/officeDocument/2006/relationships/tags" Target="../tags/tag207.xml"/><Relationship Id="rId107" Type="http://schemas.openxmlformats.org/officeDocument/2006/relationships/tags" Target="../tags/tag298.xml"/><Relationship Id="rId11" Type="http://schemas.openxmlformats.org/officeDocument/2006/relationships/tags" Target="../tags/tag202.xml"/><Relationship Id="rId32" Type="http://schemas.openxmlformats.org/officeDocument/2006/relationships/tags" Target="../tags/tag223.xml"/><Relationship Id="rId37" Type="http://schemas.openxmlformats.org/officeDocument/2006/relationships/tags" Target="../tags/tag228.xml"/><Relationship Id="rId53" Type="http://schemas.openxmlformats.org/officeDocument/2006/relationships/tags" Target="../tags/tag244.xml"/><Relationship Id="rId58" Type="http://schemas.openxmlformats.org/officeDocument/2006/relationships/tags" Target="../tags/tag249.xml"/><Relationship Id="rId74" Type="http://schemas.openxmlformats.org/officeDocument/2006/relationships/tags" Target="../tags/tag265.xml"/><Relationship Id="rId79" Type="http://schemas.openxmlformats.org/officeDocument/2006/relationships/tags" Target="../tags/tag270.xml"/><Relationship Id="rId102" Type="http://schemas.openxmlformats.org/officeDocument/2006/relationships/tags" Target="../tags/tag293.xml"/><Relationship Id="rId123" Type="http://schemas.openxmlformats.org/officeDocument/2006/relationships/image" Target="../media/image16.png"/><Relationship Id="rId128" Type="http://schemas.openxmlformats.org/officeDocument/2006/relationships/image" Target="../media/image24.emf"/><Relationship Id="rId5" Type="http://schemas.openxmlformats.org/officeDocument/2006/relationships/tags" Target="../tags/tag196.xml"/><Relationship Id="rId90" Type="http://schemas.openxmlformats.org/officeDocument/2006/relationships/tags" Target="../tags/tag281.xml"/><Relationship Id="rId95" Type="http://schemas.openxmlformats.org/officeDocument/2006/relationships/tags" Target="../tags/tag286.xml"/><Relationship Id="rId22" Type="http://schemas.openxmlformats.org/officeDocument/2006/relationships/tags" Target="../tags/tag213.xml"/><Relationship Id="rId27" Type="http://schemas.openxmlformats.org/officeDocument/2006/relationships/tags" Target="../tags/tag218.xml"/><Relationship Id="rId43" Type="http://schemas.openxmlformats.org/officeDocument/2006/relationships/tags" Target="../tags/tag234.xml"/><Relationship Id="rId48" Type="http://schemas.openxmlformats.org/officeDocument/2006/relationships/tags" Target="../tags/tag239.xml"/><Relationship Id="rId64" Type="http://schemas.openxmlformats.org/officeDocument/2006/relationships/tags" Target="../tags/tag255.xml"/><Relationship Id="rId69" Type="http://schemas.openxmlformats.org/officeDocument/2006/relationships/tags" Target="../tags/tag260.xml"/><Relationship Id="rId113" Type="http://schemas.openxmlformats.org/officeDocument/2006/relationships/slideLayout" Target="../slideLayouts/slideLayout1.xml"/><Relationship Id="rId118" Type="http://schemas.openxmlformats.org/officeDocument/2006/relationships/image" Target="../media/image15.png"/><Relationship Id="rId80" Type="http://schemas.openxmlformats.org/officeDocument/2006/relationships/tags" Target="../tags/tag271.xml"/><Relationship Id="rId85" Type="http://schemas.openxmlformats.org/officeDocument/2006/relationships/tags" Target="../tags/tag276.xml"/><Relationship Id="rId12" Type="http://schemas.openxmlformats.org/officeDocument/2006/relationships/tags" Target="../tags/tag203.xml"/><Relationship Id="rId17" Type="http://schemas.openxmlformats.org/officeDocument/2006/relationships/tags" Target="../tags/tag208.xml"/><Relationship Id="rId33" Type="http://schemas.openxmlformats.org/officeDocument/2006/relationships/tags" Target="../tags/tag224.xml"/><Relationship Id="rId38" Type="http://schemas.openxmlformats.org/officeDocument/2006/relationships/tags" Target="../tags/tag229.xml"/><Relationship Id="rId59" Type="http://schemas.openxmlformats.org/officeDocument/2006/relationships/tags" Target="../tags/tag250.xml"/><Relationship Id="rId103" Type="http://schemas.openxmlformats.org/officeDocument/2006/relationships/tags" Target="../tags/tag294.xml"/><Relationship Id="rId108" Type="http://schemas.openxmlformats.org/officeDocument/2006/relationships/tags" Target="../tags/tag299.xml"/><Relationship Id="rId124" Type="http://schemas.openxmlformats.org/officeDocument/2006/relationships/image" Target="../media/image17.png"/><Relationship Id="rId129" Type="http://schemas.openxmlformats.org/officeDocument/2006/relationships/image" Target="../media/image18.png"/><Relationship Id="rId54" Type="http://schemas.openxmlformats.org/officeDocument/2006/relationships/tags" Target="../tags/tag245.xml"/><Relationship Id="rId70" Type="http://schemas.openxmlformats.org/officeDocument/2006/relationships/tags" Target="../tags/tag261.xml"/><Relationship Id="rId75" Type="http://schemas.openxmlformats.org/officeDocument/2006/relationships/tags" Target="../tags/tag266.xml"/><Relationship Id="rId91" Type="http://schemas.openxmlformats.org/officeDocument/2006/relationships/tags" Target="../tags/tag282.xml"/><Relationship Id="rId96" Type="http://schemas.openxmlformats.org/officeDocument/2006/relationships/tags" Target="../tags/tag28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97.xml"/><Relationship Id="rId23" Type="http://schemas.openxmlformats.org/officeDocument/2006/relationships/tags" Target="../tags/tag214.xml"/><Relationship Id="rId28" Type="http://schemas.openxmlformats.org/officeDocument/2006/relationships/tags" Target="../tags/tag219.xml"/><Relationship Id="rId49" Type="http://schemas.openxmlformats.org/officeDocument/2006/relationships/tags" Target="../tags/tag240.xml"/><Relationship Id="rId114" Type="http://schemas.openxmlformats.org/officeDocument/2006/relationships/oleObject" Target="../embeddings/oleObject16.bin"/><Relationship Id="rId119" Type="http://schemas.openxmlformats.org/officeDocument/2006/relationships/oleObject" Target="../embeddings/oleObject18.bin"/><Relationship Id="rId44" Type="http://schemas.openxmlformats.org/officeDocument/2006/relationships/tags" Target="../tags/tag235.xml"/><Relationship Id="rId60" Type="http://schemas.openxmlformats.org/officeDocument/2006/relationships/tags" Target="../tags/tag251.xml"/><Relationship Id="rId65" Type="http://schemas.openxmlformats.org/officeDocument/2006/relationships/tags" Target="../tags/tag256.xml"/><Relationship Id="rId81" Type="http://schemas.openxmlformats.org/officeDocument/2006/relationships/tags" Target="../tags/tag272.xml"/><Relationship Id="rId86" Type="http://schemas.openxmlformats.org/officeDocument/2006/relationships/tags" Target="../tags/tag277.xml"/><Relationship Id="rId130" Type="http://schemas.openxmlformats.org/officeDocument/2006/relationships/image" Target="../media/image19.png"/><Relationship Id="rId13" Type="http://schemas.openxmlformats.org/officeDocument/2006/relationships/tags" Target="../tags/tag204.xml"/><Relationship Id="rId18" Type="http://schemas.openxmlformats.org/officeDocument/2006/relationships/tags" Target="../tags/tag209.xml"/><Relationship Id="rId39" Type="http://schemas.openxmlformats.org/officeDocument/2006/relationships/tags" Target="../tags/tag230.xml"/><Relationship Id="rId109" Type="http://schemas.openxmlformats.org/officeDocument/2006/relationships/tags" Target="../tags/tag300.xml"/><Relationship Id="rId34" Type="http://schemas.openxmlformats.org/officeDocument/2006/relationships/tags" Target="../tags/tag225.xml"/><Relationship Id="rId50" Type="http://schemas.openxmlformats.org/officeDocument/2006/relationships/tags" Target="../tags/tag241.xml"/><Relationship Id="rId55" Type="http://schemas.openxmlformats.org/officeDocument/2006/relationships/tags" Target="../tags/tag246.xml"/><Relationship Id="rId76" Type="http://schemas.openxmlformats.org/officeDocument/2006/relationships/tags" Target="../tags/tag267.xml"/><Relationship Id="rId97" Type="http://schemas.openxmlformats.org/officeDocument/2006/relationships/tags" Target="../tags/tag288.xml"/><Relationship Id="rId104" Type="http://schemas.openxmlformats.org/officeDocument/2006/relationships/tags" Target="../tags/tag295.xml"/><Relationship Id="rId120" Type="http://schemas.openxmlformats.org/officeDocument/2006/relationships/image" Target="../media/image21.emf"/><Relationship Id="rId125" Type="http://schemas.openxmlformats.org/officeDocument/2006/relationships/oleObject" Target="../embeddings/oleObject20.bin"/><Relationship Id="rId7" Type="http://schemas.openxmlformats.org/officeDocument/2006/relationships/tags" Target="../tags/tag198.xml"/><Relationship Id="rId71" Type="http://schemas.openxmlformats.org/officeDocument/2006/relationships/tags" Target="../tags/tag262.xml"/><Relationship Id="rId92" Type="http://schemas.openxmlformats.org/officeDocument/2006/relationships/tags" Target="../tags/tag283.xml"/><Relationship Id="rId2" Type="http://schemas.openxmlformats.org/officeDocument/2006/relationships/tags" Target="../tags/tag193.xml"/><Relationship Id="rId29" Type="http://schemas.openxmlformats.org/officeDocument/2006/relationships/tags" Target="../tags/tag220.xml"/><Relationship Id="rId24" Type="http://schemas.openxmlformats.org/officeDocument/2006/relationships/tags" Target="../tags/tag215.xml"/><Relationship Id="rId40" Type="http://schemas.openxmlformats.org/officeDocument/2006/relationships/tags" Target="../tags/tag231.xml"/><Relationship Id="rId45" Type="http://schemas.openxmlformats.org/officeDocument/2006/relationships/tags" Target="../tags/tag236.xml"/><Relationship Id="rId66" Type="http://schemas.openxmlformats.org/officeDocument/2006/relationships/tags" Target="../tags/tag257.xml"/><Relationship Id="rId87" Type="http://schemas.openxmlformats.org/officeDocument/2006/relationships/tags" Target="../tags/tag278.xml"/><Relationship Id="rId110" Type="http://schemas.openxmlformats.org/officeDocument/2006/relationships/tags" Target="../tags/tag301.xml"/><Relationship Id="rId115" Type="http://schemas.openxmlformats.org/officeDocument/2006/relationships/image" Target="../media/image1.emf"/><Relationship Id="rId61" Type="http://schemas.openxmlformats.org/officeDocument/2006/relationships/tags" Target="../tags/tag252.xml"/><Relationship Id="rId82" Type="http://schemas.openxmlformats.org/officeDocument/2006/relationships/tags" Target="../tags/tag273.xml"/><Relationship Id="rId19" Type="http://schemas.openxmlformats.org/officeDocument/2006/relationships/tags" Target="../tags/tag210.xml"/><Relationship Id="rId14" Type="http://schemas.openxmlformats.org/officeDocument/2006/relationships/tags" Target="../tags/tag205.xml"/><Relationship Id="rId30" Type="http://schemas.openxmlformats.org/officeDocument/2006/relationships/tags" Target="../tags/tag221.xml"/><Relationship Id="rId35" Type="http://schemas.openxmlformats.org/officeDocument/2006/relationships/tags" Target="../tags/tag226.xml"/><Relationship Id="rId56" Type="http://schemas.openxmlformats.org/officeDocument/2006/relationships/tags" Target="../tags/tag247.xml"/><Relationship Id="rId77" Type="http://schemas.openxmlformats.org/officeDocument/2006/relationships/tags" Target="../tags/tag268.xml"/><Relationship Id="rId100" Type="http://schemas.openxmlformats.org/officeDocument/2006/relationships/tags" Target="../tags/tag291.xml"/><Relationship Id="rId105" Type="http://schemas.openxmlformats.org/officeDocument/2006/relationships/tags" Target="../tags/tag296.xml"/><Relationship Id="rId126" Type="http://schemas.openxmlformats.org/officeDocument/2006/relationships/image" Target="../media/image23.emf"/><Relationship Id="rId8" Type="http://schemas.openxmlformats.org/officeDocument/2006/relationships/tags" Target="../tags/tag199.xml"/><Relationship Id="rId51" Type="http://schemas.openxmlformats.org/officeDocument/2006/relationships/tags" Target="../tags/tag242.xml"/><Relationship Id="rId72" Type="http://schemas.openxmlformats.org/officeDocument/2006/relationships/tags" Target="../tags/tag263.xml"/><Relationship Id="rId93" Type="http://schemas.openxmlformats.org/officeDocument/2006/relationships/tags" Target="../tags/tag284.xml"/><Relationship Id="rId98" Type="http://schemas.openxmlformats.org/officeDocument/2006/relationships/tags" Target="../tags/tag289.xml"/><Relationship Id="rId121" Type="http://schemas.openxmlformats.org/officeDocument/2006/relationships/oleObject" Target="../embeddings/oleObject19.bin"/><Relationship Id="rId3" Type="http://schemas.openxmlformats.org/officeDocument/2006/relationships/tags" Target="../tags/tag194.xml"/><Relationship Id="rId25" Type="http://schemas.openxmlformats.org/officeDocument/2006/relationships/tags" Target="../tags/tag216.xml"/><Relationship Id="rId46" Type="http://schemas.openxmlformats.org/officeDocument/2006/relationships/tags" Target="../tags/tag237.xml"/><Relationship Id="rId67" Type="http://schemas.openxmlformats.org/officeDocument/2006/relationships/tags" Target="../tags/tag258.xml"/><Relationship Id="rId116" Type="http://schemas.openxmlformats.org/officeDocument/2006/relationships/oleObject" Target="../embeddings/oleObject17.bin"/><Relationship Id="rId20" Type="http://schemas.openxmlformats.org/officeDocument/2006/relationships/tags" Target="../tags/tag211.xml"/><Relationship Id="rId41" Type="http://schemas.openxmlformats.org/officeDocument/2006/relationships/tags" Target="../tags/tag232.xml"/><Relationship Id="rId62" Type="http://schemas.openxmlformats.org/officeDocument/2006/relationships/tags" Target="../tags/tag253.xml"/><Relationship Id="rId83" Type="http://schemas.openxmlformats.org/officeDocument/2006/relationships/tags" Target="../tags/tag274.xml"/><Relationship Id="rId88" Type="http://schemas.openxmlformats.org/officeDocument/2006/relationships/tags" Target="../tags/tag279.xml"/><Relationship Id="rId111" Type="http://schemas.openxmlformats.org/officeDocument/2006/relationships/tags" Target="../tags/tag302.xml"/><Relationship Id="rId15" Type="http://schemas.openxmlformats.org/officeDocument/2006/relationships/tags" Target="../tags/tag206.xml"/><Relationship Id="rId36" Type="http://schemas.openxmlformats.org/officeDocument/2006/relationships/tags" Target="../tags/tag227.xml"/><Relationship Id="rId57" Type="http://schemas.openxmlformats.org/officeDocument/2006/relationships/tags" Target="../tags/tag248.xml"/><Relationship Id="rId106" Type="http://schemas.openxmlformats.org/officeDocument/2006/relationships/tags" Target="../tags/tag297.xml"/><Relationship Id="rId127" Type="http://schemas.openxmlformats.org/officeDocument/2006/relationships/oleObject" Target="../embeddings/oleObject21.bin"/><Relationship Id="rId10" Type="http://schemas.openxmlformats.org/officeDocument/2006/relationships/tags" Target="../tags/tag201.xml"/><Relationship Id="rId31" Type="http://schemas.openxmlformats.org/officeDocument/2006/relationships/tags" Target="../tags/tag222.xml"/><Relationship Id="rId52" Type="http://schemas.openxmlformats.org/officeDocument/2006/relationships/tags" Target="../tags/tag243.xml"/><Relationship Id="rId73" Type="http://schemas.openxmlformats.org/officeDocument/2006/relationships/tags" Target="../tags/tag264.xml"/><Relationship Id="rId78" Type="http://schemas.openxmlformats.org/officeDocument/2006/relationships/tags" Target="../tags/tag269.xml"/><Relationship Id="rId94" Type="http://schemas.openxmlformats.org/officeDocument/2006/relationships/tags" Target="../tags/tag285.xml"/><Relationship Id="rId99" Type="http://schemas.openxmlformats.org/officeDocument/2006/relationships/tags" Target="../tags/tag290.xml"/><Relationship Id="rId101" Type="http://schemas.openxmlformats.org/officeDocument/2006/relationships/tags" Target="../tags/tag292.xml"/><Relationship Id="rId122" Type="http://schemas.openxmlformats.org/officeDocument/2006/relationships/image" Target="../media/image22.emf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26" Type="http://schemas.openxmlformats.org/officeDocument/2006/relationships/tags" Target="../tags/tag2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7" Type="http://schemas.openxmlformats.org/officeDocument/2006/relationships/chart" Target="../charts/chart2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307.xml"/><Relationship Id="rId7" Type="http://schemas.openxmlformats.org/officeDocument/2006/relationships/chart" Target="../charts/chart3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319.xml"/><Relationship Id="rId18" Type="http://schemas.openxmlformats.org/officeDocument/2006/relationships/tags" Target="../tags/tag324.xml"/><Relationship Id="rId26" Type="http://schemas.openxmlformats.org/officeDocument/2006/relationships/slideLayout" Target="../slideLayouts/slideLayout1.xml"/><Relationship Id="rId39" Type="http://schemas.openxmlformats.org/officeDocument/2006/relationships/diagramLayout" Target="../diagrams/layout2.xml"/><Relationship Id="rId21" Type="http://schemas.openxmlformats.org/officeDocument/2006/relationships/tags" Target="../tags/tag327.xml"/><Relationship Id="rId34" Type="http://schemas.openxmlformats.org/officeDocument/2006/relationships/diagramLayout" Target="../diagrams/layout1.xml"/><Relationship Id="rId42" Type="http://schemas.microsoft.com/office/2007/relationships/diagramDrawing" Target="../diagrams/drawing2.xml"/><Relationship Id="rId7" Type="http://schemas.openxmlformats.org/officeDocument/2006/relationships/tags" Target="../tags/tag313.xml"/><Relationship Id="rId2" Type="http://schemas.openxmlformats.org/officeDocument/2006/relationships/tags" Target="../tags/tag308.xml"/><Relationship Id="rId16" Type="http://schemas.openxmlformats.org/officeDocument/2006/relationships/tags" Target="../tags/tag322.xml"/><Relationship Id="rId20" Type="http://schemas.openxmlformats.org/officeDocument/2006/relationships/tags" Target="../tags/tag326.xml"/><Relationship Id="rId29" Type="http://schemas.openxmlformats.org/officeDocument/2006/relationships/oleObject" Target="../embeddings/oleObject25.bin"/><Relationship Id="rId41" Type="http://schemas.openxmlformats.org/officeDocument/2006/relationships/diagramColors" Target="../diagrams/colors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312.xml"/><Relationship Id="rId11" Type="http://schemas.openxmlformats.org/officeDocument/2006/relationships/tags" Target="../tags/tag317.xml"/><Relationship Id="rId24" Type="http://schemas.openxmlformats.org/officeDocument/2006/relationships/tags" Target="../tags/tag330.xml"/><Relationship Id="rId32" Type="http://schemas.openxmlformats.org/officeDocument/2006/relationships/image" Target="../media/image26.emf"/><Relationship Id="rId37" Type="http://schemas.microsoft.com/office/2007/relationships/diagramDrawing" Target="../diagrams/drawing1.xml"/><Relationship Id="rId40" Type="http://schemas.openxmlformats.org/officeDocument/2006/relationships/diagramQuickStyle" Target="../diagrams/quickStyle2.xml"/><Relationship Id="rId5" Type="http://schemas.openxmlformats.org/officeDocument/2006/relationships/tags" Target="../tags/tag311.xml"/><Relationship Id="rId15" Type="http://schemas.openxmlformats.org/officeDocument/2006/relationships/tags" Target="../tags/tag321.xml"/><Relationship Id="rId23" Type="http://schemas.openxmlformats.org/officeDocument/2006/relationships/tags" Target="../tags/tag329.xml"/><Relationship Id="rId28" Type="http://schemas.openxmlformats.org/officeDocument/2006/relationships/image" Target="../media/image1.emf"/><Relationship Id="rId36" Type="http://schemas.openxmlformats.org/officeDocument/2006/relationships/diagramColors" Target="../diagrams/colors1.xml"/><Relationship Id="rId10" Type="http://schemas.openxmlformats.org/officeDocument/2006/relationships/tags" Target="../tags/tag316.xml"/><Relationship Id="rId19" Type="http://schemas.openxmlformats.org/officeDocument/2006/relationships/tags" Target="../tags/tag325.xml"/><Relationship Id="rId31" Type="http://schemas.openxmlformats.org/officeDocument/2006/relationships/oleObject" Target="../embeddings/oleObject26.bin"/><Relationship Id="rId4" Type="http://schemas.openxmlformats.org/officeDocument/2006/relationships/tags" Target="../tags/tag310.xml"/><Relationship Id="rId9" Type="http://schemas.openxmlformats.org/officeDocument/2006/relationships/tags" Target="../tags/tag315.xml"/><Relationship Id="rId14" Type="http://schemas.openxmlformats.org/officeDocument/2006/relationships/tags" Target="../tags/tag320.xml"/><Relationship Id="rId22" Type="http://schemas.openxmlformats.org/officeDocument/2006/relationships/tags" Target="../tags/tag328.xml"/><Relationship Id="rId27" Type="http://schemas.openxmlformats.org/officeDocument/2006/relationships/oleObject" Target="../embeddings/oleObject24.bin"/><Relationship Id="rId30" Type="http://schemas.openxmlformats.org/officeDocument/2006/relationships/image" Target="../media/image25.emf"/><Relationship Id="rId35" Type="http://schemas.openxmlformats.org/officeDocument/2006/relationships/diagramQuickStyle" Target="../diagrams/quickStyle1.xml"/><Relationship Id="rId8" Type="http://schemas.openxmlformats.org/officeDocument/2006/relationships/tags" Target="../tags/tag314.xml"/><Relationship Id="rId3" Type="http://schemas.openxmlformats.org/officeDocument/2006/relationships/tags" Target="../tags/tag309.xml"/><Relationship Id="rId12" Type="http://schemas.openxmlformats.org/officeDocument/2006/relationships/tags" Target="../tags/tag318.xml"/><Relationship Id="rId17" Type="http://schemas.openxmlformats.org/officeDocument/2006/relationships/tags" Target="../tags/tag323.xml"/><Relationship Id="rId25" Type="http://schemas.openxmlformats.org/officeDocument/2006/relationships/tags" Target="../tags/tag331.xml"/><Relationship Id="rId33" Type="http://schemas.openxmlformats.org/officeDocument/2006/relationships/diagramData" Target="../diagrams/data1.xml"/><Relationship Id="rId38" Type="http://schemas.openxmlformats.org/officeDocument/2006/relationships/diagramData" Target="../diagrams/data2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343.xml"/><Relationship Id="rId18" Type="http://schemas.openxmlformats.org/officeDocument/2006/relationships/tags" Target="../tags/tag348.xml"/><Relationship Id="rId26" Type="http://schemas.openxmlformats.org/officeDocument/2006/relationships/slideLayout" Target="../slideLayouts/slideLayout1.xml"/><Relationship Id="rId21" Type="http://schemas.openxmlformats.org/officeDocument/2006/relationships/tags" Target="../tags/tag351.xml"/><Relationship Id="rId34" Type="http://schemas.openxmlformats.org/officeDocument/2006/relationships/image" Target="../media/image16.png"/><Relationship Id="rId7" Type="http://schemas.openxmlformats.org/officeDocument/2006/relationships/tags" Target="../tags/tag337.xml"/><Relationship Id="rId12" Type="http://schemas.openxmlformats.org/officeDocument/2006/relationships/tags" Target="../tags/tag342.xml"/><Relationship Id="rId17" Type="http://schemas.openxmlformats.org/officeDocument/2006/relationships/tags" Target="../tags/tag347.xml"/><Relationship Id="rId25" Type="http://schemas.openxmlformats.org/officeDocument/2006/relationships/tags" Target="../tags/tag355.xml"/><Relationship Id="rId33" Type="http://schemas.openxmlformats.org/officeDocument/2006/relationships/image" Target="../media/image15.png"/><Relationship Id="rId2" Type="http://schemas.openxmlformats.org/officeDocument/2006/relationships/tags" Target="../tags/tag332.xml"/><Relationship Id="rId16" Type="http://schemas.openxmlformats.org/officeDocument/2006/relationships/tags" Target="../tags/tag346.xml"/><Relationship Id="rId20" Type="http://schemas.openxmlformats.org/officeDocument/2006/relationships/tags" Target="../tags/tag350.xml"/><Relationship Id="rId29" Type="http://schemas.openxmlformats.org/officeDocument/2006/relationships/oleObject" Target="../embeddings/oleObject28.bin"/><Relationship Id="rId1" Type="http://schemas.openxmlformats.org/officeDocument/2006/relationships/vmlDrawing" Target="../drawings/vmlDrawing12.vml"/><Relationship Id="rId6" Type="http://schemas.openxmlformats.org/officeDocument/2006/relationships/tags" Target="../tags/tag336.xml"/><Relationship Id="rId11" Type="http://schemas.openxmlformats.org/officeDocument/2006/relationships/tags" Target="../tags/tag341.xml"/><Relationship Id="rId24" Type="http://schemas.openxmlformats.org/officeDocument/2006/relationships/tags" Target="../tags/tag354.xml"/><Relationship Id="rId32" Type="http://schemas.openxmlformats.org/officeDocument/2006/relationships/image" Target="../media/image28.emf"/><Relationship Id="rId37" Type="http://schemas.openxmlformats.org/officeDocument/2006/relationships/image" Target="../media/image19.png"/><Relationship Id="rId5" Type="http://schemas.openxmlformats.org/officeDocument/2006/relationships/tags" Target="../tags/tag335.xml"/><Relationship Id="rId15" Type="http://schemas.openxmlformats.org/officeDocument/2006/relationships/tags" Target="../tags/tag345.xml"/><Relationship Id="rId23" Type="http://schemas.openxmlformats.org/officeDocument/2006/relationships/tags" Target="../tags/tag353.xml"/><Relationship Id="rId28" Type="http://schemas.openxmlformats.org/officeDocument/2006/relationships/image" Target="../media/image1.emf"/><Relationship Id="rId36" Type="http://schemas.openxmlformats.org/officeDocument/2006/relationships/image" Target="../media/image18.png"/><Relationship Id="rId10" Type="http://schemas.openxmlformats.org/officeDocument/2006/relationships/tags" Target="../tags/tag340.xml"/><Relationship Id="rId19" Type="http://schemas.openxmlformats.org/officeDocument/2006/relationships/tags" Target="../tags/tag349.xml"/><Relationship Id="rId31" Type="http://schemas.openxmlformats.org/officeDocument/2006/relationships/oleObject" Target="../embeddings/oleObject29.bin"/><Relationship Id="rId4" Type="http://schemas.openxmlformats.org/officeDocument/2006/relationships/tags" Target="../tags/tag334.xml"/><Relationship Id="rId9" Type="http://schemas.openxmlformats.org/officeDocument/2006/relationships/tags" Target="../tags/tag339.xml"/><Relationship Id="rId14" Type="http://schemas.openxmlformats.org/officeDocument/2006/relationships/tags" Target="../tags/tag344.xml"/><Relationship Id="rId22" Type="http://schemas.openxmlformats.org/officeDocument/2006/relationships/tags" Target="../tags/tag352.xml"/><Relationship Id="rId27" Type="http://schemas.openxmlformats.org/officeDocument/2006/relationships/oleObject" Target="../embeddings/oleObject27.bin"/><Relationship Id="rId30" Type="http://schemas.openxmlformats.org/officeDocument/2006/relationships/image" Target="../media/image27.emf"/><Relationship Id="rId35" Type="http://schemas.openxmlformats.org/officeDocument/2006/relationships/image" Target="../media/image17.png"/><Relationship Id="rId8" Type="http://schemas.openxmlformats.org/officeDocument/2006/relationships/tags" Target="../tags/tag338.xml"/><Relationship Id="rId3" Type="http://schemas.openxmlformats.org/officeDocument/2006/relationships/tags" Target="../tags/tag33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62.xml"/><Relationship Id="rId13" Type="http://schemas.openxmlformats.org/officeDocument/2006/relationships/tags" Target="../tags/tag367.xml"/><Relationship Id="rId18" Type="http://schemas.openxmlformats.org/officeDocument/2006/relationships/oleObject" Target="../embeddings/oleObject31.bin"/><Relationship Id="rId3" Type="http://schemas.openxmlformats.org/officeDocument/2006/relationships/tags" Target="../tags/tag357.xml"/><Relationship Id="rId21" Type="http://schemas.openxmlformats.org/officeDocument/2006/relationships/image" Target="../media/image15.png"/><Relationship Id="rId7" Type="http://schemas.openxmlformats.org/officeDocument/2006/relationships/tags" Target="../tags/tag361.xml"/><Relationship Id="rId12" Type="http://schemas.openxmlformats.org/officeDocument/2006/relationships/tags" Target="../tags/tag366.xml"/><Relationship Id="rId17" Type="http://schemas.openxmlformats.org/officeDocument/2006/relationships/image" Target="../media/image29.emf"/><Relationship Id="rId2" Type="http://schemas.openxmlformats.org/officeDocument/2006/relationships/tags" Target="../tags/tag356.xml"/><Relationship Id="rId16" Type="http://schemas.openxmlformats.org/officeDocument/2006/relationships/oleObject" Target="../embeddings/oleObject30.bin"/><Relationship Id="rId20" Type="http://schemas.openxmlformats.org/officeDocument/2006/relationships/image" Target="../media/image31.png"/><Relationship Id="rId1" Type="http://schemas.openxmlformats.org/officeDocument/2006/relationships/vmlDrawing" Target="../drawings/vmlDrawing13.vml"/><Relationship Id="rId6" Type="http://schemas.openxmlformats.org/officeDocument/2006/relationships/tags" Target="../tags/tag360.xml"/><Relationship Id="rId11" Type="http://schemas.openxmlformats.org/officeDocument/2006/relationships/tags" Target="../tags/tag365.xml"/><Relationship Id="rId24" Type="http://schemas.openxmlformats.org/officeDocument/2006/relationships/image" Target="../media/image19.png"/><Relationship Id="rId5" Type="http://schemas.openxmlformats.org/officeDocument/2006/relationships/tags" Target="../tags/tag359.xml"/><Relationship Id="rId15" Type="http://schemas.openxmlformats.org/officeDocument/2006/relationships/slideLayout" Target="../slideLayouts/slideLayout7.xml"/><Relationship Id="rId23" Type="http://schemas.openxmlformats.org/officeDocument/2006/relationships/image" Target="../media/image18.png"/><Relationship Id="rId10" Type="http://schemas.openxmlformats.org/officeDocument/2006/relationships/tags" Target="../tags/tag364.xml"/><Relationship Id="rId19" Type="http://schemas.openxmlformats.org/officeDocument/2006/relationships/image" Target="../media/image30.emf"/><Relationship Id="rId4" Type="http://schemas.openxmlformats.org/officeDocument/2006/relationships/tags" Target="../tags/tag358.xml"/><Relationship Id="rId9" Type="http://schemas.openxmlformats.org/officeDocument/2006/relationships/tags" Target="../tags/tag363.xml"/><Relationship Id="rId14" Type="http://schemas.openxmlformats.org/officeDocument/2006/relationships/tags" Target="../tags/tag368.xml"/><Relationship Id="rId22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image" Target="../media/image1.emf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slideLayout" Target="../slideLayouts/slideLayout1.xml"/><Relationship Id="rId45" Type="http://schemas.openxmlformats.org/officeDocument/2006/relationships/oleObject" Target="../embeddings/oleObject5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image" Target="../media/image6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oleObject" Target="../embeddings/oleObject4.bin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image" Target="../media/image7.emf"/><Relationship Id="rId20" Type="http://schemas.openxmlformats.org/officeDocument/2006/relationships/tags" Target="../tags/tag22.xml"/><Relationship Id="rId41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8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chart" Target="../charts/chart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9" Type="http://schemas.openxmlformats.org/officeDocument/2006/relationships/oleObject" Target="../embeddings/oleObject8.bin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42" Type="http://schemas.openxmlformats.org/officeDocument/2006/relationships/image" Target="../media/image9.emf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29" Type="http://schemas.openxmlformats.org/officeDocument/2006/relationships/tags" Target="../tags/tag73.xml"/><Relationship Id="rId41" Type="http://schemas.openxmlformats.org/officeDocument/2006/relationships/oleObject" Target="../embeddings/oleObject9.bin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tags" Target="../tags/tag81.xml"/><Relationship Id="rId40" Type="http://schemas.openxmlformats.org/officeDocument/2006/relationships/image" Target="../media/image1.emf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tags" Target="../tags/tag80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tags" Target="../tags/tag79.xml"/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0.emf"/><Relationship Id="rId21" Type="http://schemas.openxmlformats.org/officeDocument/2006/relationships/tags" Target="../tags/tag101.xml"/><Relationship Id="rId42" Type="http://schemas.openxmlformats.org/officeDocument/2006/relationships/tags" Target="../tags/tag122.xml"/><Relationship Id="rId47" Type="http://schemas.openxmlformats.org/officeDocument/2006/relationships/tags" Target="../tags/tag127.xml"/><Relationship Id="rId63" Type="http://schemas.openxmlformats.org/officeDocument/2006/relationships/tags" Target="../tags/tag143.xml"/><Relationship Id="rId68" Type="http://schemas.openxmlformats.org/officeDocument/2006/relationships/tags" Target="../tags/tag148.xml"/><Relationship Id="rId84" Type="http://schemas.openxmlformats.org/officeDocument/2006/relationships/tags" Target="../tags/tag164.xml"/><Relationship Id="rId89" Type="http://schemas.openxmlformats.org/officeDocument/2006/relationships/tags" Target="../tags/tag169.xml"/><Relationship Id="rId112" Type="http://schemas.openxmlformats.org/officeDocument/2006/relationships/tags" Target="../tags/tag192.xml"/><Relationship Id="rId16" Type="http://schemas.openxmlformats.org/officeDocument/2006/relationships/tags" Target="../tags/tag96.xml"/><Relationship Id="rId107" Type="http://schemas.openxmlformats.org/officeDocument/2006/relationships/tags" Target="../tags/tag187.xml"/><Relationship Id="rId11" Type="http://schemas.openxmlformats.org/officeDocument/2006/relationships/tags" Target="../tags/tag91.xml"/><Relationship Id="rId32" Type="http://schemas.openxmlformats.org/officeDocument/2006/relationships/tags" Target="../tags/tag112.xml"/><Relationship Id="rId37" Type="http://schemas.openxmlformats.org/officeDocument/2006/relationships/tags" Target="../tags/tag117.xml"/><Relationship Id="rId53" Type="http://schemas.openxmlformats.org/officeDocument/2006/relationships/tags" Target="../tags/tag133.xml"/><Relationship Id="rId58" Type="http://schemas.openxmlformats.org/officeDocument/2006/relationships/tags" Target="../tags/tag138.xml"/><Relationship Id="rId74" Type="http://schemas.openxmlformats.org/officeDocument/2006/relationships/tags" Target="../tags/tag154.xml"/><Relationship Id="rId79" Type="http://schemas.openxmlformats.org/officeDocument/2006/relationships/tags" Target="../tags/tag159.xml"/><Relationship Id="rId102" Type="http://schemas.openxmlformats.org/officeDocument/2006/relationships/tags" Target="../tags/tag182.xml"/><Relationship Id="rId123" Type="http://schemas.openxmlformats.org/officeDocument/2006/relationships/image" Target="../media/image16.png"/><Relationship Id="rId128" Type="http://schemas.openxmlformats.org/officeDocument/2006/relationships/image" Target="../media/image14.emf"/><Relationship Id="rId5" Type="http://schemas.openxmlformats.org/officeDocument/2006/relationships/tags" Target="../tags/tag85.xml"/><Relationship Id="rId90" Type="http://schemas.openxmlformats.org/officeDocument/2006/relationships/tags" Target="../tags/tag170.xml"/><Relationship Id="rId95" Type="http://schemas.openxmlformats.org/officeDocument/2006/relationships/tags" Target="../tags/tag175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43" Type="http://schemas.openxmlformats.org/officeDocument/2006/relationships/tags" Target="../tags/tag123.xml"/><Relationship Id="rId48" Type="http://schemas.openxmlformats.org/officeDocument/2006/relationships/tags" Target="../tags/tag128.xml"/><Relationship Id="rId64" Type="http://schemas.openxmlformats.org/officeDocument/2006/relationships/tags" Target="../tags/tag144.xml"/><Relationship Id="rId69" Type="http://schemas.openxmlformats.org/officeDocument/2006/relationships/tags" Target="../tags/tag149.xml"/><Relationship Id="rId113" Type="http://schemas.openxmlformats.org/officeDocument/2006/relationships/slideLayout" Target="../slideLayouts/slideLayout1.xml"/><Relationship Id="rId118" Type="http://schemas.openxmlformats.org/officeDocument/2006/relationships/image" Target="../media/image15.png"/><Relationship Id="rId80" Type="http://schemas.openxmlformats.org/officeDocument/2006/relationships/tags" Target="../tags/tag160.xml"/><Relationship Id="rId85" Type="http://schemas.openxmlformats.org/officeDocument/2006/relationships/tags" Target="../tags/tag165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33" Type="http://schemas.openxmlformats.org/officeDocument/2006/relationships/tags" Target="../tags/tag113.xml"/><Relationship Id="rId38" Type="http://schemas.openxmlformats.org/officeDocument/2006/relationships/tags" Target="../tags/tag118.xml"/><Relationship Id="rId59" Type="http://schemas.openxmlformats.org/officeDocument/2006/relationships/tags" Target="../tags/tag139.xml"/><Relationship Id="rId103" Type="http://schemas.openxmlformats.org/officeDocument/2006/relationships/tags" Target="../tags/tag183.xml"/><Relationship Id="rId108" Type="http://schemas.openxmlformats.org/officeDocument/2006/relationships/tags" Target="../tags/tag188.xml"/><Relationship Id="rId124" Type="http://schemas.openxmlformats.org/officeDocument/2006/relationships/image" Target="../media/image17.png"/><Relationship Id="rId129" Type="http://schemas.openxmlformats.org/officeDocument/2006/relationships/image" Target="../media/image18.png"/><Relationship Id="rId54" Type="http://schemas.openxmlformats.org/officeDocument/2006/relationships/tags" Target="../tags/tag134.xml"/><Relationship Id="rId70" Type="http://schemas.openxmlformats.org/officeDocument/2006/relationships/tags" Target="../tags/tag150.xml"/><Relationship Id="rId75" Type="http://schemas.openxmlformats.org/officeDocument/2006/relationships/tags" Target="../tags/tag155.xml"/><Relationship Id="rId91" Type="http://schemas.openxmlformats.org/officeDocument/2006/relationships/tags" Target="../tags/tag171.xml"/><Relationship Id="rId96" Type="http://schemas.openxmlformats.org/officeDocument/2006/relationships/tags" Target="../tags/tag176.xml"/><Relationship Id="rId1" Type="http://schemas.openxmlformats.org/officeDocument/2006/relationships/vmlDrawing" Target="../drawings/vmlDrawing7.vml"/><Relationship Id="rId6" Type="http://schemas.openxmlformats.org/officeDocument/2006/relationships/tags" Target="../tags/tag86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49" Type="http://schemas.openxmlformats.org/officeDocument/2006/relationships/tags" Target="../tags/tag129.xml"/><Relationship Id="rId114" Type="http://schemas.openxmlformats.org/officeDocument/2006/relationships/oleObject" Target="../embeddings/oleObject10.bin"/><Relationship Id="rId119" Type="http://schemas.openxmlformats.org/officeDocument/2006/relationships/oleObject" Target="../embeddings/oleObject12.bin"/><Relationship Id="rId44" Type="http://schemas.openxmlformats.org/officeDocument/2006/relationships/tags" Target="../tags/tag124.xml"/><Relationship Id="rId60" Type="http://schemas.openxmlformats.org/officeDocument/2006/relationships/tags" Target="../tags/tag140.xml"/><Relationship Id="rId65" Type="http://schemas.openxmlformats.org/officeDocument/2006/relationships/tags" Target="../tags/tag145.xml"/><Relationship Id="rId81" Type="http://schemas.openxmlformats.org/officeDocument/2006/relationships/tags" Target="../tags/tag161.xml"/><Relationship Id="rId86" Type="http://schemas.openxmlformats.org/officeDocument/2006/relationships/tags" Target="../tags/tag166.xml"/><Relationship Id="rId130" Type="http://schemas.openxmlformats.org/officeDocument/2006/relationships/image" Target="../media/image19.png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39" Type="http://schemas.openxmlformats.org/officeDocument/2006/relationships/tags" Target="../tags/tag119.xml"/><Relationship Id="rId109" Type="http://schemas.openxmlformats.org/officeDocument/2006/relationships/tags" Target="../tags/tag189.xml"/><Relationship Id="rId34" Type="http://schemas.openxmlformats.org/officeDocument/2006/relationships/tags" Target="../tags/tag114.xml"/><Relationship Id="rId50" Type="http://schemas.openxmlformats.org/officeDocument/2006/relationships/tags" Target="../tags/tag130.xml"/><Relationship Id="rId55" Type="http://schemas.openxmlformats.org/officeDocument/2006/relationships/tags" Target="../tags/tag135.xml"/><Relationship Id="rId76" Type="http://schemas.openxmlformats.org/officeDocument/2006/relationships/tags" Target="../tags/tag156.xml"/><Relationship Id="rId97" Type="http://schemas.openxmlformats.org/officeDocument/2006/relationships/tags" Target="../tags/tag177.xml"/><Relationship Id="rId104" Type="http://schemas.openxmlformats.org/officeDocument/2006/relationships/tags" Target="../tags/tag184.xml"/><Relationship Id="rId120" Type="http://schemas.openxmlformats.org/officeDocument/2006/relationships/image" Target="../media/image11.emf"/><Relationship Id="rId125" Type="http://schemas.openxmlformats.org/officeDocument/2006/relationships/oleObject" Target="../embeddings/oleObject14.bin"/><Relationship Id="rId7" Type="http://schemas.openxmlformats.org/officeDocument/2006/relationships/tags" Target="../tags/tag87.xml"/><Relationship Id="rId71" Type="http://schemas.openxmlformats.org/officeDocument/2006/relationships/tags" Target="../tags/tag151.xml"/><Relationship Id="rId92" Type="http://schemas.openxmlformats.org/officeDocument/2006/relationships/tags" Target="../tags/tag172.xml"/><Relationship Id="rId2" Type="http://schemas.openxmlformats.org/officeDocument/2006/relationships/tags" Target="../tags/tag82.xml"/><Relationship Id="rId29" Type="http://schemas.openxmlformats.org/officeDocument/2006/relationships/tags" Target="../tags/tag109.xml"/><Relationship Id="rId24" Type="http://schemas.openxmlformats.org/officeDocument/2006/relationships/tags" Target="../tags/tag104.xml"/><Relationship Id="rId40" Type="http://schemas.openxmlformats.org/officeDocument/2006/relationships/tags" Target="../tags/tag120.xml"/><Relationship Id="rId45" Type="http://schemas.openxmlformats.org/officeDocument/2006/relationships/tags" Target="../tags/tag125.xml"/><Relationship Id="rId66" Type="http://schemas.openxmlformats.org/officeDocument/2006/relationships/tags" Target="../tags/tag146.xml"/><Relationship Id="rId87" Type="http://schemas.openxmlformats.org/officeDocument/2006/relationships/tags" Target="../tags/tag167.xml"/><Relationship Id="rId110" Type="http://schemas.openxmlformats.org/officeDocument/2006/relationships/tags" Target="../tags/tag190.xml"/><Relationship Id="rId115" Type="http://schemas.openxmlformats.org/officeDocument/2006/relationships/image" Target="../media/image1.emf"/><Relationship Id="rId61" Type="http://schemas.openxmlformats.org/officeDocument/2006/relationships/tags" Target="../tags/tag141.xml"/><Relationship Id="rId82" Type="http://schemas.openxmlformats.org/officeDocument/2006/relationships/tags" Target="../tags/tag162.xml"/><Relationship Id="rId19" Type="http://schemas.openxmlformats.org/officeDocument/2006/relationships/tags" Target="../tags/tag99.xml"/><Relationship Id="rId14" Type="http://schemas.openxmlformats.org/officeDocument/2006/relationships/tags" Target="../tags/tag94.xml"/><Relationship Id="rId30" Type="http://schemas.openxmlformats.org/officeDocument/2006/relationships/tags" Target="../tags/tag110.xml"/><Relationship Id="rId35" Type="http://schemas.openxmlformats.org/officeDocument/2006/relationships/tags" Target="../tags/tag115.xml"/><Relationship Id="rId56" Type="http://schemas.openxmlformats.org/officeDocument/2006/relationships/tags" Target="../tags/tag136.xml"/><Relationship Id="rId77" Type="http://schemas.openxmlformats.org/officeDocument/2006/relationships/tags" Target="../tags/tag157.xml"/><Relationship Id="rId100" Type="http://schemas.openxmlformats.org/officeDocument/2006/relationships/tags" Target="../tags/tag180.xml"/><Relationship Id="rId105" Type="http://schemas.openxmlformats.org/officeDocument/2006/relationships/tags" Target="../tags/tag185.xml"/><Relationship Id="rId126" Type="http://schemas.openxmlformats.org/officeDocument/2006/relationships/image" Target="../media/image13.emf"/><Relationship Id="rId8" Type="http://schemas.openxmlformats.org/officeDocument/2006/relationships/tags" Target="../tags/tag88.xml"/><Relationship Id="rId51" Type="http://schemas.openxmlformats.org/officeDocument/2006/relationships/tags" Target="../tags/tag131.xml"/><Relationship Id="rId72" Type="http://schemas.openxmlformats.org/officeDocument/2006/relationships/tags" Target="../tags/tag152.xml"/><Relationship Id="rId93" Type="http://schemas.openxmlformats.org/officeDocument/2006/relationships/tags" Target="../tags/tag173.xml"/><Relationship Id="rId98" Type="http://schemas.openxmlformats.org/officeDocument/2006/relationships/tags" Target="../tags/tag178.xml"/><Relationship Id="rId121" Type="http://schemas.openxmlformats.org/officeDocument/2006/relationships/oleObject" Target="../embeddings/oleObject13.bin"/><Relationship Id="rId3" Type="http://schemas.openxmlformats.org/officeDocument/2006/relationships/tags" Target="../tags/tag83.xml"/><Relationship Id="rId25" Type="http://schemas.openxmlformats.org/officeDocument/2006/relationships/tags" Target="../tags/tag105.xml"/><Relationship Id="rId46" Type="http://schemas.openxmlformats.org/officeDocument/2006/relationships/tags" Target="../tags/tag126.xml"/><Relationship Id="rId67" Type="http://schemas.openxmlformats.org/officeDocument/2006/relationships/tags" Target="../tags/tag147.xml"/><Relationship Id="rId116" Type="http://schemas.openxmlformats.org/officeDocument/2006/relationships/oleObject" Target="../embeddings/oleObject11.bin"/><Relationship Id="rId20" Type="http://schemas.openxmlformats.org/officeDocument/2006/relationships/tags" Target="../tags/tag100.xml"/><Relationship Id="rId41" Type="http://schemas.openxmlformats.org/officeDocument/2006/relationships/tags" Target="../tags/tag121.xml"/><Relationship Id="rId62" Type="http://schemas.openxmlformats.org/officeDocument/2006/relationships/tags" Target="../tags/tag142.xml"/><Relationship Id="rId83" Type="http://schemas.openxmlformats.org/officeDocument/2006/relationships/tags" Target="../tags/tag163.xml"/><Relationship Id="rId88" Type="http://schemas.openxmlformats.org/officeDocument/2006/relationships/tags" Target="../tags/tag168.xml"/><Relationship Id="rId111" Type="http://schemas.openxmlformats.org/officeDocument/2006/relationships/tags" Target="../tags/tag191.xml"/><Relationship Id="rId15" Type="http://schemas.openxmlformats.org/officeDocument/2006/relationships/tags" Target="../tags/tag95.xml"/><Relationship Id="rId36" Type="http://schemas.openxmlformats.org/officeDocument/2006/relationships/tags" Target="../tags/tag116.xml"/><Relationship Id="rId57" Type="http://schemas.openxmlformats.org/officeDocument/2006/relationships/tags" Target="../tags/tag137.xml"/><Relationship Id="rId106" Type="http://schemas.openxmlformats.org/officeDocument/2006/relationships/tags" Target="../tags/tag186.xml"/><Relationship Id="rId127" Type="http://schemas.openxmlformats.org/officeDocument/2006/relationships/oleObject" Target="../embeddings/oleObject15.bin"/><Relationship Id="rId10" Type="http://schemas.openxmlformats.org/officeDocument/2006/relationships/tags" Target="../tags/tag90.xml"/><Relationship Id="rId31" Type="http://schemas.openxmlformats.org/officeDocument/2006/relationships/tags" Target="../tags/tag111.xml"/><Relationship Id="rId52" Type="http://schemas.openxmlformats.org/officeDocument/2006/relationships/tags" Target="../tags/tag132.xml"/><Relationship Id="rId73" Type="http://schemas.openxmlformats.org/officeDocument/2006/relationships/tags" Target="../tags/tag153.xml"/><Relationship Id="rId78" Type="http://schemas.openxmlformats.org/officeDocument/2006/relationships/tags" Target="../tags/tag158.xml"/><Relationship Id="rId94" Type="http://schemas.openxmlformats.org/officeDocument/2006/relationships/tags" Target="../tags/tag174.xml"/><Relationship Id="rId99" Type="http://schemas.openxmlformats.org/officeDocument/2006/relationships/tags" Target="../tags/tag179.xml"/><Relationship Id="rId101" Type="http://schemas.openxmlformats.org/officeDocument/2006/relationships/tags" Target="../tags/tag181.xml"/><Relationship Id="rId122" Type="http://schemas.openxmlformats.org/officeDocument/2006/relationships/image" Target="../media/image12.emf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26" Type="http://schemas.openxmlformats.org/officeDocument/2006/relationships/tags" Target="../tags/tag10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Eras Demi ITC" panose="020B08050305040208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12577" y="4658475"/>
            <a:ext cx="5236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dos Investimentos e Rentabilidade em TV Aberta</a:t>
            </a:r>
            <a:endParaRPr lang="pt-BR" sz="24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ão Paulo, 23 de março de 2015</a:t>
            </a:r>
            <a:endParaRPr lang="pt-BR" sz="11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14" t="729" r="16086" b="1"/>
          <a:stretch/>
        </p:blipFill>
        <p:spPr>
          <a:xfrm>
            <a:off x="7278393" y="2869838"/>
            <a:ext cx="1504895" cy="155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195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0" name="Slide do think-cell" r:id="rId114" imgW="270" imgH="270" progId="TCLayout.ActiveDocument.1">
                  <p:embed/>
                </p:oleObj>
              </mc:Choice>
              <mc:Fallback>
                <p:oleObj name="Slide do think-cell" r:id="rId1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200" b="1">
              <a:latin typeface="Eras Medium ITC"/>
              <a:sym typeface="Eras Medium ITC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895600" y="564507"/>
            <a:ext cx="54883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Principais Emissoras de TV Aberta </a:t>
            </a:r>
          </a:p>
          <a:p>
            <a:pPr algn="r"/>
            <a:r>
              <a:rPr lang="pt-BR" dirty="0" smtClean="0"/>
              <a:t>Audiência MM ABCDE 18+ (%) - PNT</a:t>
            </a:r>
            <a:endParaRPr lang="pt-BR" dirty="0"/>
          </a:p>
        </p:txBody>
      </p:sp>
      <p:graphicFrame>
        <p:nvGraphicFramePr>
          <p:cNvPr id="24" name="Objeto 2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18578952"/>
              </p:ext>
            </p:extLst>
          </p:nvPr>
        </p:nvGraphicFramePr>
        <p:xfrm>
          <a:off x="152400" y="1714499"/>
          <a:ext cx="3390807" cy="2200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1" name="Gráfico" r:id="rId116" imgW="3390807" imgH="2200230" progId="MSGraph.Chart.8">
                  <p:embed followColorScheme="full"/>
                </p:oleObj>
              </mc:Choice>
              <mc:Fallback>
                <p:oleObj name="Gráfico" r:id="rId116" imgW="3390807" imgH="22002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7"/>
                      <a:stretch>
                        <a:fillRect/>
                      </a:stretch>
                    </p:blipFill>
                    <p:spPr>
                      <a:xfrm>
                        <a:off x="152400" y="1714499"/>
                        <a:ext cx="3390807" cy="2200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Conector reto 38"/>
          <p:cNvCxnSpPr/>
          <p:nvPr>
            <p:custDataLst>
              <p:tags r:id="rId5"/>
            </p:custDataLst>
          </p:nvPr>
        </p:nvCxnSpPr>
        <p:spPr bwMode="auto">
          <a:xfrm>
            <a:off x="2105025" y="1655763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/>
          <p:cNvCxnSpPr/>
          <p:nvPr>
            <p:custDataLst>
              <p:tags r:id="rId6"/>
            </p:custDataLst>
          </p:nvPr>
        </p:nvCxnSpPr>
        <p:spPr bwMode="auto">
          <a:xfrm>
            <a:off x="1304925" y="215106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/>
          <p:cNvCxnSpPr/>
          <p:nvPr>
            <p:custDataLst>
              <p:tags r:id="rId7"/>
            </p:custDataLst>
          </p:nvPr>
        </p:nvCxnSpPr>
        <p:spPr bwMode="auto">
          <a:xfrm flipV="1">
            <a:off x="2895600" y="21510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to 42"/>
          <p:cNvCxnSpPr/>
          <p:nvPr>
            <p:custDataLst>
              <p:tags r:id="rId8"/>
            </p:custDataLst>
          </p:nvPr>
        </p:nvCxnSpPr>
        <p:spPr bwMode="auto">
          <a:xfrm>
            <a:off x="3181350" y="21510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to 33"/>
          <p:cNvCxnSpPr/>
          <p:nvPr>
            <p:custDataLst>
              <p:tags r:id="rId9"/>
            </p:custDataLst>
          </p:nvPr>
        </p:nvCxnSpPr>
        <p:spPr bwMode="auto">
          <a:xfrm flipV="1">
            <a:off x="1304925" y="21510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/>
          <p:cNvCxnSpPr/>
          <p:nvPr>
            <p:custDataLst>
              <p:tags r:id="rId10"/>
            </p:custDataLst>
          </p:nvPr>
        </p:nvCxnSpPr>
        <p:spPr bwMode="auto">
          <a:xfrm>
            <a:off x="2386013" y="1655763"/>
            <a:ext cx="0" cy="3365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/>
          <p:cNvCxnSpPr/>
          <p:nvPr>
            <p:custDataLst>
              <p:tags r:id="rId11"/>
            </p:custDataLst>
          </p:nvPr>
        </p:nvCxnSpPr>
        <p:spPr bwMode="auto">
          <a:xfrm>
            <a:off x="790575" y="27225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/>
          <p:cNvCxnSpPr/>
          <p:nvPr>
            <p:custDataLst>
              <p:tags r:id="rId12"/>
            </p:custDataLst>
          </p:nvPr>
        </p:nvCxnSpPr>
        <p:spPr bwMode="auto">
          <a:xfrm>
            <a:off x="504825" y="272256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/>
          <p:cNvCxnSpPr/>
          <p:nvPr>
            <p:custDataLst>
              <p:tags r:id="rId13"/>
            </p:custDataLst>
          </p:nvPr>
        </p:nvCxnSpPr>
        <p:spPr bwMode="auto">
          <a:xfrm>
            <a:off x="2895600" y="215106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/>
          <p:cNvCxnSpPr/>
          <p:nvPr>
            <p:custDataLst>
              <p:tags r:id="rId14"/>
            </p:custDataLst>
          </p:nvPr>
        </p:nvCxnSpPr>
        <p:spPr bwMode="auto">
          <a:xfrm flipV="1">
            <a:off x="504825" y="27225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to 36"/>
          <p:cNvCxnSpPr/>
          <p:nvPr>
            <p:custDataLst>
              <p:tags r:id="rId15"/>
            </p:custDataLst>
          </p:nvPr>
        </p:nvCxnSpPr>
        <p:spPr bwMode="auto">
          <a:xfrm>
            <a:off x="1590675" y="21510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/>
          <p:nvPr>
            <p:custDataLst>
              <p:tags r:id="rId16"/>
            </p:custDataLst>
          </p:nvPr>
        </p:nvCxnSpPr>
        <p:spPr bwMode="auto">
          <a:xfrm flipV="1">
            <a:off x="2105025" y="1655763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3" name="Espaço Reservado para Texto 6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927225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9B9D47-FD93-4B80-896B-9E2A99328E4D}" type="datetime'1''8''''h''0''''''0''''-''''''24''h0''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32" name="Espaço Reservado para Texto 6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3188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BA6F40-465C-4B71-81C3-F79BAB199C02}" type="datetime'''1''''2''''h''''''''00''''''''-1''''''''8''h''''00''''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29" name="Espaço Reservado para Texto 5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78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923DF6-CAB2-4A2B-8E9C-7A5A55C25796}" type="datetime'''''07''h''''00''''-''1''''2''''h''''''''''0''0''''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48" name="Espaço Reservado para Texto 7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890838" y="2033588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1F68862-6DB1-4F0A-812A-603091A6B654}" type="datetime'''''''''''''''''''''''''''''''''''''''''0''''''''''''''''%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47" name="Espaço Reservado para Texto 76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070100" y="153828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ED6A69D-C447-46F9-809B-7B89A9AF7D83}" type="datetime'''''''''''-''''8''''''''''''''''''''''''''''''''%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8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46" name="Espaço Reservado para Texto 75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00163" y="2033588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01064CC-A18F-4470-B8C0-9443BF1CD1F9}" type="datetime'0''''''''''''''''''''''''''''''''''''''''%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45" name="Espaço Reservado para Texto 7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00063" y="2605088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ED070281-DC15-436B-910E-B9B108B1B86E}" type="datetime'''''''''''''''''0''%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34" name="Espaço Reservado para Texto 64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722563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31065B-5D69-4ABC-BBBE-B35830998021}" type="datetime'''''''''0''7h''''''''0''''''0''''-''2''''''4''''h0''''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0" name="Retângulo 29"/>
          <p:cNvSpPr/>
          <p:nvPr>
            <p:custDataLst>
              <p:tags r:id="rId25"/>
            </p:custDataLst>
          </p:nvPr>
        </p:nvSpPr>
        <p:spPr bwMode="auto">
          <a:xfrm>
            <a:off x="1117600" y="1166813"/>
            <a:ext cx="214313" cy="160338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Retângulo 28"/>
          <p:cNvSpPr/>
          <p:nvPr>
            <p:custDataLst>
              <p:tags r:id="rId26"/>
            </p:custDataLst>
          </p:nvPr>
        </p:nvSpPr>
        <p:spPr bwMode="auto">
          <a:xfrm>
            <a:off x="376238" y="1166813"/>
            <a:ext cx="214313" cy="160338"/>
          </a:xfrm>
          <a:prstGeom prst="rect">
            <a:avLst/>
          </a:prstGeom>
          <a:solidFill>
            <a:srgbClr val="04621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1" name="Espaço Reservado para Texto 71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382713" y="1162050"/>
            <a:ext cx="3746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53D712-9DDB-49B0-9D31-32CE9A8C1502}" type="datetime'''''''2''''''''''''''''''''''''''''''0''1''''''''''4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240" name="Espaço Reservado para Texto 70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41350" y="1162050"/>
            <a:ext cx="3746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901EA9-9304-4ACE-B319-5CC233EE2198}" type="datetime'''''''''''''''2''''0''''1''3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pic>
        <p:nvPicPr>
          <p:cNvPr id="313" name="Imagem 312"/>
          <p:cNvPicPr>
            <a:picLocks noChangeAspect="1"/>
          </p:cNvPicPr>
          <p:nvPr/>
        </p:nvPicPr>
        <p:blipFill rotWithShape="1">
          <a:blip r:embed="rId1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37" t="-1" r="14553" b="1349"/>
          <a:stretch/>
        </p:blipFill>
        <p:spPr>
          <a:xfrm>
            <a:off x="227013" y="1645104"/>
            <a:ext cx="648072" cy="540001"/>
          </a:xfrm>
          <a:prstGeom prst="rect">
            <a:avLst/>
          </a:prstGeom>
        </p:spPr>
      </p:pic>
      <p:graphicFrame>
        <p:nvGraphicFramePr>
          <p:cNvPr id="339" name="Objeto 338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526983260"/>
              </p:ext>
            </p:extLst>
          </p:nvPr>
        </p:nvGraphicFramePr>
        <p:xfrm>
          <a:off x="3695700" y="1714499"/>
          <a:ext cx="3390807" cy="2200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2" name="Gráfico" r:id="rId119" imgW="3390807" imgH="2200230" progId="MSGraph.Chart.8">
                  <p:embed followColorScheme="full"/>
                </p:oleObj>
              </mc:Choice>
              <mc:Fallback>
                <p:oleObj name="Gráfico" r:id="rId119" imgW="3390807" imgH="22002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3695700" y="1714499"/>
                        <a:ext cx="3390807" cy="2200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42" name="Conector reto 341"/>
          <p:cNvCxnSpPr/>
          <p:nvPr>
            <p:custDataLst>
              <p:tags r:id="rId30"/>
            </p:custDataLst>
          </p:nvPr>
        </p:nvCxnSpPr>
        <p:spPr bwMode="auto">
          <a:xfrm>
            <a:off x="4333875" y="28368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8" name="Conector reto 347"/>
          <p:cNvCxnSpPr/>
          <p:nvPr>
            <p:custDataLst>
              <p:tags r:id="rId31"/>
            </p:custDataLst>
          </p:nvPr>
        </p:nvCxnSpPr>
        <p:spPr bwMode="auto">
          <a:xfrm>
            <a:off x="5133975" y="24749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0" name="Conector reto 349"/>
          <p:cNvCxnSpPr/>
          <p:nvPr>
            <p:custDataLst>
              <p:tags r:id="rId32"/>
            </p:custDataLst>
          </p:nvPr>
        </p:nvCxnSpPr>
        <p:spPr bwMode="auto">
          <a:xfrm>
            <a:off x="4848225" y="24749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0" name="Conector reto 339"/>
          <p:cNvCxnSpPr/>
          <p:nvPr>
            <p:custDataLst>
              <p:tags r:id="rId33"/>
            </p:custDataLst>
          </p:nvPr>
        </p:nvCxnSpPr>
        <p:spPr bwMode="auto">
          <a:xfrm flipV="1">
            <a:off x="4048125" y="2836863"/>
            <a:ext cx="0" cy="2889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3" name="Conector reto 342"/>
          <p:cNvCxnSpPr/>
          <p:nvPr>
            <p:custDataLst>
              <p:tags r:id="rId34"/>
            </p:custDataLst>
          </p:nvPr>
        </p:nvCxnSpPr>
        <p:spPr bwMode="auto">
          <a:xfrm flipV="1">
            <a:off x="4848225" y="2474913"/>
            <a:ext cx="0" cy="2508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1" name="Conector reto 350"/>
          <p:cNvCxnSpPr/>
          <p:nvPr>
            <p:custDataLst>
              <p:tags r:id="rId35"/>
            </p:custDataLst>
          </p:nvPr>
        </p:nvCxnSpPr>
        <p:spPr bwMode="auto">
          <a:xfrm>
            <a:off x="5929313" y="1655763"/>
            <a:ext cx="0" cy="3651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6" name="Conector reto 345"/>
          <p:cNvCxnSpPr/>
          <p:nvPr>
            <p:custDataLst>
              <p:tags r:id="rId36"/>
            </p:custDataLst>
          </p:nvPr>
        </p:nvCxnSpPr>
        <p:spPr bwMode="auto">
          <a:xfrm>
            <a:off x="6724650" y="233203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9" name="Conector reto 348"/>
          <p:cNvCxnSpPr/>
          <p:nvPr>
            <p:custDataLst>
              <p:tags r:id="rId37"/>
            </p:custDataLst>
          </p:nvPr>
        </p:nvCxnSpPr>
        <p:spPr bwMode="auto">
          <a:xfrm>
            <a:off x="5648325" y="1655763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5" name="Conector reto 344"/>
          <p:cNvCxnSpPr/>
          <p:nvPr>
            <p:custDataLst>
              <p:tags r:id="rId38"/>
            </p:custDataLst>
          </p:nvPr>
        </p:nvCxnSpPr>
        <p:spPr bwMode="auto">
          <a:xfrm>
            <a:off x="6438900" y="2332038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4" name="Conector reto 343"/>
          <p:cNvCxnSpPr/>
          <p:nvPr>
            <p:custDataLst>
              <p:tags r:id="rId39"/>
            </p:custDataLst>
          </p:nvPr>
        </p:nvCxnSpPr>
        <p:spPr bwMode="auto">
          <a:xfrm flipV="1">
            <a:off x="6438900" y="2332038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1" name="Conector reto 340"/>
          <p:cNvCxnSpPr/>
          <p:nvPr>
            <p:custDataLst>
              <p:tags r:id="rId40"/>
            </p:custDataLst>
          </p:nvPr>
        </p:nvCxnSpPr>
        <p:spPr bwMode="auto">
          <a:xfrm>
            <a:off x="4048125" y="283686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7" name="Conector reto 346"/>
          <p:cNvCxnSpPr/>
          <p:nvPr>
            <p:custDataLst>
              <p:tags r:id="rId41"/>
            </p:custDataLst>
          </p:nvPr>
        </p:nvCxnSpPr>
        <p:spPr bwMode="auto">
          <a:xfrm flipV="1">
            <a:off x="5648325" y="1655763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9" name="Espaço Reservado para Texto 77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407150" y="2214563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64B0557-1011-4A52-83C9-98710DA0B882}" type="datetime'''''''''''''''''''''-''''''''''''7%''''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7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7" name="Espaço Reservado para Texto 76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551488" y="1538288"/>
            <a:ext cx="4746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42AABE-83CA-4791-8637-8A21A2DE38CF}" type="datetime'''-''''''''''''''1''''''''''0%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1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6" name="Espaço Reservado para Texto 75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816475" y="235743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5BA8340-9BC6-4115-9596-927A5A15324D}" type="datetime'''''''''''-3''%''''''''''''''''''''''''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3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8" name="Espaço Reservado para Texto 74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981450" y="2719388"/>
            <a:ext cx="4206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CFA223-BDDD-4406-A624-1DD1FFF78E84}" type="datetime'''''''''+''''''''''''5''''''''''''''''''''''''''%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5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2" name="Espaço Reservado para Texto 64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265863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F892AD-5E69-4770-BF58-38F3B73E6F0E}" type="datetime'''''''0''7''''''''h0''''0''-2''''4h''''''''''''0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5" name="Espaço Reservado para Texto 63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470525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0BCCA2-6AA2-45B0-9F0B-5F52DD273542}" type="datetime'1''8''''''''h0''''''''''''0''''-2''''''''''4h''''0''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3" name="Espaço Reservado para Texto 6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67518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D9514A-F79C-47D3-9B6E-A4D05DCB5CBB}" type="datetime'12''''''''''h0''''''''''''''''''''''''''0-''1''8h''''0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4" name="Espaço Reservado para Texto 59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87508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7C9C7F-70AE-4C91-94B3-1343CEF5E458}" type="datetime'''''''0''''''7h''0''0-''1''2h''''''''''0''''''''''''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364" name="Objeto 363"/>
          <p:cNvGraphicFramePr>
            <a:graphicFrameLocks/>
          </p:cNvGraphicFramePr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933047054"/>
              </p:ext>
            </p:extLst>
          </p:nvPr>
        </p:nvGraphicFramePr>
        <p:xfrm>
          <a:off x="7162799" y="1714499"/>
          <a:ext cx="3400528" cy="2200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3" name="Gráfico" r:id="rId121" imgW="3400528" imgH="2200230" progId="MSGraph.Chart.8">
                  <p:embed followColorScheme="full"/>
                </p:oleObj>
              </mc:Choice>
              <mc:Fallback>
                <p:oleObj name="Gráfico" r:id="rId121" imgW="3400528" imgH="22002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2"/>
                      <a:stretch>
                        <a:fillRect/>
                      </a:stretch>
                    </p:blipFill>
                    <p:spPr>
                      <a:xfrm>
                        <a:off x="7162799" y="1714499"/>
                        <a:ext cx="3400528" cy="2200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67" name="Conector reto 366"/>
          <p:cNvCxnSpPr/>
          <p:nvPr>
            <p:custDataLst>
              <p:tags r:id="rId51"/>
            </p:custDataLst>
          </p:nvPr>
        </p:nvCxnSpPr>
        <p:spPr bwMode="auto">
          <a:xfrm>
            <a:off x="7820025" y="231298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8" name="Conector reto 367"/>
          <p:cNvCxnSpPr/>
          <p:nvPr>
            <p:custDataLst>
              <p:tags r:id="rId52"/>
            </p:custDataLst>
          </p:nvPr>
        </p:nvCxnSpPr>
        <p:spPr bwMode="auto">
          <a:xfrm flipV="1">
            <a:off x="8334375" y="19224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6" name="Conector reto 375"/>
          <p:cNvCxnSpPr/>
          <p:nvPr>
            <p:custDataLst>
              <p:tags r:id="rId53"/>
            </p:custDataLst>
          </p:nvPr>
        </p:nvCxnSpPr>
        <p:spPr bwMode="auto">
          <a:xfrm>
            <a:off x="9415463" y="15795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1" name="Conector reto 370"/>
          <p:cNvCxnSpPr/>
          <p:nvPr>
            <p:custDataLst>
              <p:tags r:id="rId54"/>
            </p:custDataLst>
          </p:nvPr>
        </p:nvCxnSpPr>
        <p:spPr bwMode="auto">
          <a:xfrm>
            <a:off x="10210800" y="19224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9" name="Conector reto 368"/>
          <p:cNvCxnSpPr/>
          <p:nvPr>
            <p:custDataLst>
              <p:tags r:id="rId55"/>
            </p:custDataLst>
          </p:nvPr>
        </p:nvCxnSpPr>
        <p:spPr bwMode="auto">
          <a:xfrm flipV="1">
            <a:off x="9925050" y="19224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0" name="Conector reto 369"/>
          <p:cNvCxnSpPr/>
          <p:nvPr>
            <p:custDataLst>
              <p:tags r:id="rId56"/>
            </p:custDataLst>
          </p:nvPr>
        </p:nvCxnSpPr>
        <p:spPr bwMode="auto">
          <a:xfrm>
            <a:off x="9925050" y="192246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5" name="Conector reto 374"/>
          <p:cNvCxnSpPr/>
          <p:nvPr>
            <p:custDataLst>
              <p:tags r:id="rId57"/>
            </p:custDataLst>
          </p:nvPr>
        </p:nvCxnSpPr>
        <p:spPr bwMode="auto">
          <a:xfrm>
            <a:off x="8334375" y="192246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6" name="Conector reto 365"/>
          <p:cNvCxnSpPr/>
          <p:nvPr>
            <p:custDataLst>
              <p:tags r:id="rId58"/>
            </p:custDataLst>
          </p:nvPr>
        </p:nvCxnSpPr>
        <p:spPr bwMode="auto">
          <a:xfrm>
            <a:off x="7534275" y="2312988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4" name="Conector reto 373"/>
          <p:cNvCxnSpPr/>
          <p:nvPr>
            <p:custDataLst>
              <p:tags r:id="rId59"/>
            </p:custDataLst>
          </p:nvPr>
        </p:nvCxnSpPr>
        <p:spPr bwMode="auto">
          <a:xfrm>
            <a:off x="9134475" y="1579563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5" name="Conector reto 364"/>
          <p:cNvCxnSpPr/>
          <p:nvPr>
            <p:custDataLst>
              <p:tags r:id="rId60"/>
            </p:custDataLst>
          </p:nvPr>
        </p:nvCxnSpPr>
        <p:spPr bwMode="auto">
          <a:xfrm flipV="1">
            <a:off x="7534275" y="231298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2" name="Conector reto 371"/>
          <p:cNvCxnSpPr/>
          <p:nvPr>
            <p:custDataLst>
              <p:tags r:id="rId61"/>
            </p:custDataLst>
          </p:nvPr>
        </p:nvCxnSpPr>
        <p:spPr bwMode="auto">
          <a:xfrm flipV="1">
            <a:off x="9134475" y="15795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3" name="Conector reto 372"/>
          <p:cNvCxnSpPr/>
          <p:nvPr>
            <p:custDataLst>
              <p:tags r:id="rId62"/>
            </p:custDataLst>
          </p:nvPr>
        </p:nvCxnSpPr>
        <p:spPr bwMode="auto">
          <a:xfrm>
            <a:off x="8620125" y="19224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4" name="Espaço Reservado para Texto 77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920288" y="1804988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852CD40-E600-424D-8FDE-7FE828DFBEE9}" type="datetime'''''''0%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2" name="Espaço Reservado para Texto 76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126538" y="1462088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DAAD6D33-D94C-48F0-9FDE-F32BC82FE44B}" type="datetime'''0''''''''''''''''''''''''''''''''''''''''%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1" name="Espaço Reservado para Texto 75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329613" y="1804988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7119425-1963-4BA6-8EB4-6FC7324DE859}" type="datetime'''''''''''''''''''0''''''''''''''''''''''%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3" name="Espaço Reservado para Texto 74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7529513" y="2195513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D8958CBC-DCA0-4775-AC24-671E48B48279}" type="datetime'''''0''''''''''''''''''''''''''''''''''''%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77" name="Espaço Reservado para Texto 64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752013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AB8497-C9B9-4BF7-A971-F0BA0C3C2EEE}" type="datetime'''0''7h''''0''''''''''''0''''-2''''''''4h''''''0''''''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0" name="Espaço Reservado para Texto 63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956675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F13C57-EC3D-4FE2-9544-2A8849D5265A}" type="datetime'1''8''''''h''''00-2''''4''''h''''''''''''''''''''''00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78" name="Espaço Reservado para Texto 6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816133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84052A-33BC-4FC3-A29E-E11EED98D624}" type="datetime'1''2h''0''''''0''''''''''''-18''''''''''''''''''h''''''0''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79" name="Espaço Reservado para Texto 59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736123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39D946-0908-4E33-B12B-299926D4AB6C}" type="datetime'0''''''''7''''h0''''0''''''''''''-''''''1''''2''h''''''0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pic>
        <p:nvPicPr>
          <p:cNvPr id="389" name="Imagem 388"/>
          <p:cNvPicPr>
            <a:picLocks noChangeAspect="1"/>
          </p:cNvPicPr>
          <p:nvPr/>
        </p:nvPicPr>
        <p:blipFill>
          <a:blip r:embed="rId1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0638" y="1645104"/>
            <a:ext cx="443571" cy="449485"/>
          </a:xfrm>
          <a:prstGeom prst="rect">
            <a:avLst/>
          </a:prstGeom>
        </p:spPr>
      </p:pic>
      <p:pic>
        <p:nvPicPr>
          <p:cNvPr id="390" name="Imagem 389"/>
          <p:cNvPicPr>
            <a:picLocks noChangeAspect="1"/>
          </p:cNvPicPr>
          <p:nvPr/>
        </p:nvPicPr>
        <p:blipFill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1645104"/>
            <a:ext cx="428168" cy="428168"/>
          </a:xfrm>
          <a:prstGeom prst="rect">
            <a:avLst/>
          </a:prstGeom>
        </p:spPr>
      </p:pic>
      <p:graphicFrame>
        <p:nvGraphicFramePr>
          <p:cNvPr id="391" name="Objeto 390"/>
          <p:cNvGraphicFramePr>
            <a:graphicFrameLocks/>
          </p:cNvGraphicFramePr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1611320812"/>
              </p:ext>
            </p:extLst>
          </p:nvPr>
        </p:nvGraphicFramePr>
        <p:xfrm>
          <a:off x="228600" y="4305299"/>
          <a:ext cx="3409980" cy="2200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4" name="Gráfico" r:id="rId125" imgW="3409980" imgH="2200230" progId="MSGraph.Chart.8">
                  <p:embed followColorScheme="full"/>
                </p:oleObj>
              </mc:Choice>
              <mc:Fallback>
                <p:oleObj name="Gráfico" r:id="rId125" imgW="3409980" imgH="22002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6"/>
                      <a:stretch>
                        <a:fillRect/>
                      </a:stretch>
                    </p:blipFill>
                    <p:spPr>
                      <a:xfrm>
                        <a:off x="228600" y="4305299"/>
                        <a:ext cx="3409980" cy="2200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2" name="Conector reto 391"/>
          <p:cNvCxnSpPr/>
          <p:nvPr>
            <p:custDataLst>
              <p:tags r:id="rId72"/>
            </p:custDataLst>
          </p:nvPr>
        </p:nvCxnSpPr>
        <p:spPr bwMode="auto">
          <a:xfrm flipV="1">
            <a:off x="600075" y="511333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3" name="Conector reto 392"/>
          <p:cNvCxnSpPr/>
          <p:nvPr>
            <p:custDataLst>
              <p:tags r:id="rId73"/>
            </p:custDataLst>
          </p:nvPr>
        </p:nvCxnSpPr>
        <p:spPr bwMode="auto">
          <a:xfrm>
            <a:off x="600075" y="5113338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5" name="Conector reto 394"/>
          <p:cNvCxnSpPr/>
          <p:nvPr>
            <p:custDataLst>
              <p:tags r:id="rId74"/>
            </p:custDataLst>
          </p:nvPr>
        </p:nvCxnSpPr>
        <p:spPr bwMode="auto">
          <a:xfrm flipV="1">
            <a:off x="1400175" y="433228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8" name="Conector reto 397"/>
          <p:cNvCxnSpPr/>
          <p:nvPr>
            <p:custDataLst>
              <p:tags r:id="rId75"/>
            </p:custDataLst>
          </p:nvPr>
        </p:nvCxnSpPr>
        <p:spPr bwMode="auto">
          <a:xfrm>
            <a:off x="3276600" y="450373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2" name="Conector reto 401"/>
          <p:cNvCxnSpPr/>
          <p:nvPr>
            <p:custDataLst>
              <p:tags r:id="rId76"/>
            </p:custDataLst>
          </p:nvPr>
        </p:nvCxnSpPr>
        <p:spPr bwMode="auto">
          <a:xfrm>
            <a:off x="1400175" y="4332288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1" name="Conector reto 400"/>
          <p:cNvCxnSpPr/>
          <p:nvPr>
            <p:custDataLst>
              <p:tags r:id="rId77"/>
            </p:custDataLst>
          </p:nvPr>
        </p:nvCxnSpPr>
        <p:spPr bwMode="auto">
          <a:xfrm>
            <a:off x="2200275" y="4170363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9" name="Conector reto 398"/>
          <p:cNvCxnSpPr/>
          <p:nvPr>
            <p:custDataLst>
              <p:tags r:id="rId78"/>
            </p:custDataLst>
          </p:nvPr>
        </p:nvCxnSpPr>
        <p:spPr bwMode="auto">
          <a:xfrm flipV="1">
            <a:off x="2200275" y="4170362"/>
            <a:ext cx="0" cy="3841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0" name="Conector reto 399"/>
          <p:cNvCxnSpPr/>
          <p:nvPr>
            <p:custDataLst>
              <p:tags r:id="rId79"/>
            </p:custDataLst>
          </p:nvPr>
        </p:nvCxnSpPr>
        <p:spPr bwMode="auto">
          <a:xfrm>
            <a:off x="1685925" y="433228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3" name="Conector reto 402"/>
          <p:cNvCxnSpPr/>
          <p:nvPr>
            <p:custDataLst>
              <p:tags r:id="rId80"/>
            </p:custDataLst>
          </p:nvPr>
        </p:nvCxnSpPr>
        <p:spPr bwMode="auto">
          <a:xfrm>
            <a:off x="2481263" y="41703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6" name="Conector reto 395"/>
          <p:cNvCxnSpPr/>
          <p:nvPr>
            <p:custDataLst>
              <p:tags r:id="rId81"/>
            </p:custDataLst>
          </p:nvPr>
        </p:nvCxnSpPr>
        <p:spPr bwMode="auto">
          <a:xfrm flipV="1">
            <a:off x="2990850" y="4503738"/>
            <a:ext cx="0" cy="3270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7" name="Conector reto 396"/>
          <p:cNvCxnSpPr/>
          <p:nvPr>
            <p:custDataLst>
              <p:tags r:id="rId82"/>
            </p:custDataLst>
          </p:nvPr>
        </p:nvCxnSpPr>
        <p:spPr bwMode="auto">
          <a:xfrm>
            <a:off x="2990850" y="4503738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4" name="Conector reto 393"/>
          <p:cNvCxnSpPr/>
          <p:nvPr>
            <p:custDataLst>
              <p:tags r:id="rId83"/>
            </p:custDataLst>
          </p:nvPr>
        </p:nvCxnSpPr>
        <p:spPr bwMode="auto">
          <a:xfrm>
            <a:off x="885825" y="511333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6" name="Espaço Reservado para Texto 59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427038" y="64928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C903DB-CFB9-4C33-ABB8-5C03A8DE0673}" type="datetime'''''''0''''7h''0''0''''-''''''''''1''''''''''''''''''2''h0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11" name="Espaço Reservado para Texto 77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2924175" y="4386263"/>
            <a:ext cx="4206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CDA7E0-754F-47A7-8480-1DE7CD63D08A}" type="datetime'''+''''''''''''4''''''''''''''%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4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9" name="Espaço Reservado para Texto 76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2130425" y="4052888"/>
            <a:ext cx="4206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C5EE3EA-4B6B-458E-A7DD-F70087BD791F}" type="datetime'''''''''+''''''''''''''''''''''''''''''''''''7''''%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7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8" name="Espaço Reservado para Texto 75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1395413" y="4214813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451903E-A451-4B49-BE94-2E2B1C0479D3}" type="datetime'''''''''''''0''''%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10" name="Espaço Reservado para Texto 74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595313" y="4995863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D126C1EA-9F5B-4864-89D2-A3BDD048256C}" type="datetime'''0''''''%''''''''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4" name="Espaço Reservado para Texto 64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2817813" y="64928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1E41AA-FBEE-4D48-A01E-7EF9F90CB0E9}" type="datetime'''''''''0''7''h''''''''''''''00''''''''-''''''''24h00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7" name="Espaço Reservado para Texto 63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2022475" y="64928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EC539A-2B15-4A0A-8633-4519549A5AA2}" type="datetime'''1''8''h''''''''''''0''0-''2''''4''''''h00''''''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5" name="Espaço Reservado para Texto 62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1227138" y="64928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CA2136-5FC7-4A5F-AF65-E90C5ECB0998}" type="datetime'''1''''2''''''''h''''''0''''0''''-''1''''''8h00''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417" name="Objeto 416"/>
          <p:cNvGraphicFramePr>
            <a:graphicFrameLocks/>
          </p:cNvGraphicFramePr>
          <p:nvPr>
            <p:custDataLst>
              <p:tags r:id="rId92"/>
            </p:custDataLst>
            <p:extLst>
              <p:ext uri="{D42A27DB-BD31-4B8C-83A1-F6EECF244321}">
                <p14:modId xmlns:p14="http://schemas.microsoft.com/office/powerpoint/2010/main" val="4291205523"/>
              </p:ext>
            </p:extLst>
          </p:nvPr>
        </p:nvGraphicFramePr>
        <p:xfrm>
          <a:off x="3771900" y="4305299"/>
          <a:ext cx="3409980" cy="2200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5" name="Gráfico" r:id="rId127" imgW="3409980" imgH="2200230" progId="MSGraph.Chart.8">
                  <p:embed followColorScheme="full"/>
                </p:oleObj>
              </mc:Choice>
              <mc:Fallback>
                <p:oleObj name="Gráfico" r:id="rId127" imgW="3409980" imgH="22002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8"/>
                      <a:stretch>
                        <a:fillRect/>
                      </a:stretch>
                    </p:blipFill>
                    <p:spPr>
                      <a:xfrm>
                        <a:off x="3771900" y="4305299"/>
                        <a:ext cx="3409980" cy="2200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19" name="Conector reto 418"/>
          <p:cNvCxnSpPr/>
          <p:nvPr>
            <p:custDataLst>
              <p:tags r:id="rId93"/>
            </p:custDataLst>
          </p:nvPr>
        </p:nvCxnSpPr>
        <p:spPr bwMode="auto">
          <a:xfrm>
            <a:off x="4143375" y="5037138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4" name="Conector reto 423"/>
          <p:cNvCxnSpPr/>
          <p:nvPr>
            <p:custDataLst>
              <p:tags r:id="rId94"/>
            </p:custDataLst>
          </p:nvPr>
        </p:nvCxnSpPr>
        <p:spPr bwMode="auto">
          <a:xfrm>
            <a:off x="6819900" y="467518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3" name="Conector reto 422"/>
          <p:cNvCxnSpPr/>
          <p:nvPr>
            <p:custDataLst>
              <p:tags r:id="rId95"/>
            </p:custDataLst>
          </p:nvPr>
        </p:nvCxnSpPr>
        <p:spPr bwMode="auto">
          <a:xfrm>
            <a:off x="6534150" y="4675188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7" name="Conector reto 426"/>
          <p:cNvCxnSpPr/>
          <p:nvPr>
            <p:custDataLst>
              <p:tags r:id="rId96"/>
            </p:custDataLst>
          </p:nvPr>
        </p:nvCxnSpPr>
        <p:spPr bwMode="auto">
          <a:xfrm>
            <a:off x="5743575" y="4170363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6" name="Conector reto 425"/>
          <p:cNvCxnSpPr/>
          <p:nvPr>
            <p:custDataLst>
              <p:tags r:id="rId97"/>
            </p:custDataLst>
          </p:nvPr>
        </p:nvCxnSpPr>
        <p:spPr bwMode="auto">
          <a:xfrm>
            <a:off x="5229225" y="48752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9" name="Conector reto 428"/>
          <p:cNvCxnSpPr/>
          <p:nvPr>
            <p:custDataLst>
              <p:tags r:id="rId98"/>
            </p:custDataLst>
          </p:nvPr>
        </p:nvCxnSpPr>
        <p:spPr bwMode="auto">
          <a:xfrm>
            <a:off x="6024563" y="41703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5" name="Conector reto 424"/>
          <p:cNvCxnSpPr/>
          <p:nvPr>
            <p:custDataLst>
              <p:tags r:id="rId99"/>
            </p:custDataLst>
          </p:nvPr>
        </p:nvCxnSpPr>
        <p:spPr bwMode="auto">
          <a:xfrm flipV="1">
            <a:off x="5743575" y="4170363"/>
            <a:ext cx="0" cy="3460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8" name="Conector reto 427"/>
          <p:cNvCxnSpPr/>
          <p:nvPr>
            <p:custDataLst>
              <p:tags r:id="rId100"/>
            </p:custDataLst>
          </p:nvPr>
        </p:nvCxnSpPr>
        <p:spPr bwMode="auto">
          <a:xfrm>
            <a:off x="4943475" y="48752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1" name="Conector reto 420"/>
          <p:cNvCxnSpPr/>
          <p:nvPr>
            <p:custDataLst>
              <p:tags r:id="rId101"/>
            </p:custDataLst>
          </p:nvPr>
        </p:nvCxnSpPr>
        <p:spPr bwMode="auto">
          <a:xfrm flipV="1">
            <a:off x="4943475" y="4875213"/>
            <a:ext cx="0" cy="307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0" name="Conector reto 419"/>
          <p:cNvCxnSpPr/>
          <p:nvPr>
            <p:custDataLst>
              <p:tags r:id="rId102"/>
            </p:custDataLst>
          </p:nvPr>
        </p:nvCxnSpPr>
        <p:spPr bwMode="auto">
          <a:xfrm>
            <a:off x="4429125" y="503713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8" name="Conector reto 417"/>
          <p:cNvCxnSpPr/>
          <p:nvPr>
            <p:custDataLst>
              <p:tags r:id="rId103"/>
            </p:custDataLst>
          </p:nvPr>
        </p:nvCxnSpPr>
        <p:spPr bwMode="auto">
          <a:xfrm flipV="1">
            <a:off x="4143375" y="5037138"/>
            <a:ext cx="0" cy="307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2" name="Conector reto 421"/>
          <p:cNvCxnSpPr/>
          <p:nvPr>
            <p:custDataLst>
              <p:tags r:id="rId104"/>
            </p:custDataLst>
          </p:nvPr>
        </p:nvCxnSpPr>
        <p:spPr bwMode="auto">
          <a:xfrm flipV="1">
            <a:off x="6534150" y="4675188"/>
            <a:ext cx="0" cy="3175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4" name="Espaço Reservado para Texto 75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4876800" y="4757738"/>
            <a:ext cx="4206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7C4C2DCF-3F5D-463C-89E5-45A7F769B6D7}" type="datetime'''''''''''''''''''''''''''+''''3''''''''''''''''''''''%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3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7" name="Espaço Reservado para Texto 77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6467475" y="4557713"/>
            <a:ext cx="4206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206BDF5-9D63-4341-8C52-17E78679F793}" type="datetime'''''''''''+''''''5''''''''''''%''''''''''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5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6" name="Espaço Reservado para Texto 74"/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4076700" y="4919663"/>
            <a:ext cx="4206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8AA9FE2-0DDE-4B2D-80A8-B89743FB950B}" type="datetime'''+''''''''''''''''''5''%''''''''''''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5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5" name="Espaço Reservado para Texto 76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5673725" y="4052888"/>
            <a:ext cx="4206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5D07DD2-EAF4-4626-9E66-4B5DF114FD1A}" type="datetime'''''''+''''5''''''''''''''''''''''''''''''%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5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0" name="Espaço Reservado para Texto 64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6361113" y="64928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E09C9C-0CDE-41AB-AFAF-36CE59BD2356}" type="datetime'0''7h''''''''0''''''''''''0''''-24''''''''h0''''''''0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3" name="Espaço Reservado para Texto 63"/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5565775" y="64928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BFEF8A-A827-4369-AD58-1A6731B21A61}" type="datetime'1''''8''''''h''''''''00-''''2''''''''''4''''''''''''h0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1" name="Espaço Reservado para Texto 62"/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4770438" y="64928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7C597E-9896-4571-AD37-4C609566B326}" type="datetime'''''''1''''2h''00''''-''''''''1''''''8''''h''''''''0''''''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2" name="Espaço Reservado para Texto 59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3970338" y="64928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E7ED4A-C735-4AB9-B192-A0B46E8C95BF}" type="datetime'''''07''''h''''''''0''0''''''''-''1''''2''h''''0''''0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pic>
        <p:nvPicPr>
          <p:cNvPr id="440" name="Imagem 439"/>
          <p:cNvPicPr>
            <a:picLocks noChangeAspect="1"/>
          </p:cNvPicPr>
          <p:nvPr/>
        </p:nvPicPr>
        <p:blipFill>
          <a:blip r:embed="rId1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38" y="4284663"/>
            <a:ext cx="456041" cy="462260"/>
          </a:xfrm>
          <a:prstGeom prst="rect">
            <a:avLst/>
          </a:prstGeom>
        </p:spPr>
      </p:pic>
      <p:pic>
        <p:nvPicPr>
          <p:cNvPr id="441" name="Imagem 440"/>
          <p:cNvPicPr>
            <a:picLocks noChangeAspect="1"/>
          </p:cNvPicPr>
          <p:nvPr/>
        </p:nvPicPr>
        <p:blipFill rotWithShape="1">
          <a:blip r:embed="rId1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06" r="-4824" b="18665"/>
          <a:stretch/>
        </p:blipFill>
        <p:spPr>
          <a:xfrm>
            <a:off x="3795713" y="4365625"/>
            <a:ext cx="657120" cy="416433"/>
          </a:xfrm>
          <a:prstGeom prst="rect">
            <a:avLst/>
          </a:prstGeom>
        </p:spPr>
      </p:pic>
      <p:sp>
        <p:nvSpPr>
          <p:cNvPr id="121" name="CaixaDeTexto 120"/>
          <p:cNvSpPr txBox="1"/>
          <p:nvPr/>
        </p:nvSpPr>
        <p:spPr>
          <a:xfrm>
            <a:off x="7290964" y="4981575"/>
            <a:ext cx="327228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ts val="1800"/>
              </a:lnSpc>
              <a:buFont typeface="Wingdings" panose="05000000000000000000" pitchFamily="2" charset="2"/>
              <a:buChar char=""/>
            </a:pPr>
            <a:r>
              <a:rPr lang="pt-BR" sz="1600" dirty="0" smtClean="0">
                <a:latin typeface="Eras Medium ITC" panose="020B0602030504020804" pitchFamily="34" charset="0"/>
              </a:rPr>
              <a:t>A audiência da Band TV se manteve estável em 2014 vs 2013 e a TV Globo é a única emissora que apresenta queda na média geral na faixa horária das 7h00 as 24h00.</a:t>
            </a:r>
            <a:endParaRPr lang="pt-BR" sz="1600" dirty="0">
              <a:latin typeface="Eras Medium ITC" panose="020B0602030504020804" pitchFamily="34" charset="0"/>
            </a:endParaRPr>
          </a:p>
        </p:txBody>
      </p:sp>
      <p:sp>
        <p:nvSpPr>
          <p:cNvPr id="122" name="CaixaDeTexto 121"/>
          <p:cNvSpPr txBox="1"/>
          <p:nvPr/>
        </p:nvSpPr>
        <p:spPr>
          <a:xfrm>
            <a:off x="6002545" y="6909459"/>
            <a:ext cx="46001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</a:t>
            </a:r>
            <a:r>
              <a:rPr lang="pt-BR" sz="900" dirty="0" smtClean="0"/>
              <a:t>Media Workstation – PNT – 2013 e 2014 – Target: MM ABCDE 18+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3204742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565505" y="2904262"/>
            <a:ext cx="75576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hare de Investimento</a:t>
            </a:r>
          </a:p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Vs</a:t>
            </a:r>
          </a:p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hare de Audiência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76652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0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067951" y="564507"/>
            <a:ext cx="6315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Análise Share das Emissoras de TV Aberta, considerando investimento base Ibope Monitor e audiência MM 18+ PNT</a:t>
            </a:r>
            <a:endParaRPr lang="pt-BR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211454" y="1936448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A Band apresenta índice positivo (101) na relação Share de Investimentos vs Share de Audiência, porém, é a terceira emissora em participação nos investimentos.</a:t>
            </a:r>
            <a:endParaRPr lang="pt-BR" sz="1800" dirty="0"/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464490028"/>
              </p:ext>
            </p:extLst>
          </p:nvPr>
        </p:nvGraphicFramePr>
        <p:xfrm>
          <a:off x="834427" y="2937353"/>
          <a:ext cx="9021372" cy="3380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7239647" y="2783464"/>
            <a:ext cx="2616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latin typeface="Eras Demi ITC" panose="020B0805030504020804" pitchFamily="34" charset="0"/>
              </a:rPr>
              <a:t>2014 (Janeiro a Dezembro)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5949730" y="6526230"/>
            <a:ext cx="40805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2014 - Valores líquidos com descontos estimados:</a:t>
            </a:r>
          </a:p>
          <a:p>
            <a:r>
              <a:rPr lang="pt-BR" sz="900" dirty="0" smtClean="0"/>
              <a:t>Band TV: 96,5%, Globo: 25%, Record e SBT: 92% e Rede TV!: 97%.</a:t>
            </a:r>
          </a:p>
          <a:p>
            <a:r>
              <a:rPr lang="pt-BR" sz="900" dirty="0" smtClean="0"/>
              <a:t>Fonte: Ibope Media Workstation – PNT – 2014 – </a:t>
            </a:r>
            <a:r>
              <a:rPr lang="pt-BR" sz="900" dirty="0"/>
              <a:t>Share de Audiência </a:t>
            </a:r>
            <a:endParaRPr lang="pt-BR" sz="900" dirty="0" smtClean="0"/>
          </a:p>
          <a:p>
            <a:r>
              <a:rPr lang="pt-BR" sz="900" dirty="0" smtClean="0"/>
              <a:t>Target: MM ABCDE 18+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256453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565505" y="2904262"/>
            <a:ext cx="75576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Share of </a:t>
            </a:r>
            <a:r>
              <a:rPr lang="pt-BR" sz="3600" dirty="0" err="1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Voice</a:t>
            </a:r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 e CPP</a:t>
            </a:r>
          </a:p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Unilever 2014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9224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588455" y="564507"/>
            <a:ext cx="57954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SOV das Emissoras de TV Aberta</a:t>
            </a:r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5968682" y="6793781"/>
            <a:ext cx="45240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2014: GRP e TRP Ponderado NET conforme critérios de conversão da secundagem.</a:t>
            </a:r>
            <a:endParaRPr lang="pt-BR" sz="900" dirty="0"/>
          </a:p>
        </p:txBody>
      </p:sp>
      <p:graphicFrame>
        <p:nvGraphicFramePr>
          <p:cNvPr id="32" name="Gráfico 31"/>
          <p:cNvGraphicFramePr/>
          <p:nvPr>
            <p:extLst>
              <p:ext uri="{D42A27DB-BD31-4B8C-83A1-F6EECF244321}">
                <p14:modId xmlns:p14="http://schemas.microsoft.com/office/powerpoint/2010/main" val="3076857411"/>
              </p:ext>
            </p:extLst>
          </p:nvPr>
        </p:nvGraphicFramePr>
        <p:xfrm>
          <a:off x="5513217" y="2883876"/>
          <a:ext cx="4979523" cy="3201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3" name="CaixaDeTexto 32"/>
          <p:cNvSpPr txBox="1"/>
          <p:nvPr/>
        </p:nvSpPr>
        <p:spPr>
          <a:xfrm>
            <a:off x="211454" y="1147437"/>
            <a:ext cx="102812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Considerando </a:t>
            </a:r>
            <a:r>
              <a:rPr lang="pt-BR" sz="1800" dirty="0"/>
              <a:t>o </a:t>
            </a:r>
            <a:r>
              <a:rPr lang="pt-BR" sz="1800" dirty="0" err="1"/>
              <a:t>share</a:t>
            </a:r>
            <a:r>
              <a:rPr lang="pt-BR" sz="1800" dirty="0"/>
              <a:t> </a:t>
            </a:r>
            <a:r>
              <a:rPr lang="pt-BR" sz="1800" dirty="0" err="1"/>
              <a:t>of</a:t>
            </a:r>
            <a:r>
              <a:rPr lang="pt-BR" sz="1800" dirty="0"/>
              <a:t> </a:t>
            </a:r>
            <a:r>
              <a:rPr lang="pt-BR" sz="1800" dirty="0" err="1"/>
              <a:t>voice</a:t>
            </a:r>
            <a:r>
              <a:rPr lang="pt-BR" sz="1800" dirty="0"/>
              <a:t> </a:t>
            </a:r>
            <a:r>
              <a:rPr lang="pt-BR" sz="1800" dirty="0" smtClean="0"/>
              <a:t>da Unilever por emissora em 2014, a Band TV apresenta bons índices de participação, sendo 9% em GRP e 6% em TRP, nas duas análise acima da participação dos investimentos.</a:t>
            </a:r>
            <a:endParaRPr lang="pt-BR" sz="1800" dirty="0"/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1256226274"/>
              </p:ext>
            </p:extLst>
          </p:nvPr>
        </p:nvGraphicFramePr>
        <p:xfrm>
          <a:off x="211454" y="2883876"/>
          <a:ext cx="4979523" cy="3201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211454" y="2209800"/>
            <a:ext cx="2901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u="sng" dirty="0" smtClean="0">
                <a:latin typeface="Eras Demi ITC" panose="020B0805030504020804" pitchFamily="34" charset="0"/>
              </a:rPr>
              <a:t>Total GRP: 113.026</a:t>
            </a:r>
            <a:endParaRPr lang="pt-BR" sz="1800" u="sng" dirty="0">
              <a:latin typeface="Eras Demi ITC" panose="020B0805030504020804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5429521" y="2209800"/>
            <a:ext cx="4333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u="sng" dirty="0" smtClean="0">
                <a:latin typeface="Eras Demi ITC" panose="020B0805030504020804" pitchFamily="34" charset="0"/>
              </a:rPr>
              <a:t>Total TRP (MM ABCDE 18+): 59.160</a:t>
            </a:r>
            <a:endParaRPr lang="pt-BR" sz="1800" u="sng" dirty="0">
              <a:latin typeface="Eras Demi ITC" panose="020B08050305040208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8116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80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" name="Slide do think-cell" r:id="rId27" imgW="270" imgH="270" progId="TCLayout.ActiveDocument.1">
                  <p:embed/>
                </p:oleObj>
              </mc:Choice>
              <mc:Fallback>
                <p:oleObj name="Slide do think-cell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/>
              <a:sym typeface="Eras Medium ITC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171825" y="564507"/>
            <a:ext cx="5212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Rentabilidade TV Aberta em 2014</a:t>
            </a:r>
            <a:endParaRPr lang="pt-BR" dirty="0"/>
          </a:p>
        </p:txBody>
      </p:sp>
      <p:graphicFrame>
        <p:nvGraphicFramePr>
          <p:cNvPr id="37" name="Objeto 3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45889181"/>
              </p:ext>
            </p:extLst>
          </p:nvPr>
        </p:nvGraphicFramePr>
        <p:xfrm>
          <a:off x="114300" y="1714500"/>
          <a:ext cx="4886251" cy="2086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" name="Gráfico" r:id="rId29" imgW="4886251" imgH="2086020" progId="MSGraph.Chart.8">
                  <p:embed followColorScheme="full"/>
                </p:oleObj>
              </mc:Choice>
              <mc:Fallback>
                <p:oleObj name="Gráfico" r:id="rId29" imgW="4886251" imgH="20860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14300" y="1714500"/>
                        <a:ext cx="4886251" cy="2086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Conector reto 1"/>
          <p:cNvCxnSpPr/>
          <p:nvPr>
            <p:custDataLst>
              <p:tags r:id="rId5"/>
            </p:custDataLst>
          </p:nvPr>
        </p:nvCxnSpPr>
        <p:spPr bwMode="auto">
          <a:xfrm flipV="1">
            <a:off x="4510088" y="1782763"/>
            <a:ext cx="0" cy="7239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/>
          <p:cNvCxnSpPr/>
          <p:nvPr>
            <p:custDataLst>
              <p:tags r:id="rId6"/>
            </p:custDataLst>
          </p:nvPr>
        </p:nvCxnSpPr>
        <p:spPr bwMode="auto">
          <a:xfrm flipH="1">
            <a:off x="628650" y="1782763"/>
            <a:ext cx="38814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to 5"/>
          <p:cNvCxnSpPr/>
          <p:nvPr>
            <p:custDataLst>
              <p:tags r:id="rId7"/>
            </p:custDataLst>
          </p:nvPr>
        </p:nvCxnSpPr>
        <p:spPr bwMode="auto">
          <a:xfrm>
            <a:off x="628650" y="1782764"/>
            <a:ext cx="0" cy="12477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Espaço Reservado para Texto 51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854325" y="3813175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3A16E1-5297-48F9-8B68-6A3FA10B9B2D}" type="datetime'''''''S''''''''''''''''''''''B''''''''''''T'''''''''''">
              <a:rPr lang="en-US" sz="1000" b="1"/>
              <a:pPr/>
              <a:t>SBT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Espaço Reservado para Texto 5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57388" y="3813175"/>
            <a:ext cx="449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8E7C92-773E-44C4-81E6-5054D8671F35}" type="datetime'''''''''''''''''R''''''''E''''C''''''O''''''''''RD'''''''''">
              <a:rPr lang="en-US" sz="1000" b="1"/>
              <a:pPr/>
              <a:t>RECORD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4" name="Espaço Reservado para Texto 8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312988" y="1657350"/>
            <a:ext cx="511175" cy="2524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F9EFCCE-E9AD-4DC9-BC9F-92E76304154F}" type="datetime'''''''''''''''''''''-''''''''''''''5''''''''''''''''''5%'''''">
              <a:rPr lang="en-US" sz="13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55%</a:t>
            </a:fld>
            <a:endParaRPr lang="pt-BR" sz="13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0" name="Espaço Reservado para Texto 49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09675" y="3813175"/>
            <a:ext cx="390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190478-C0F9-4194-9EA4-2983338CF2B0}" type="datetime'G''''''''''''''''''''''''L''''''''''''''''O''''B''''''O'''''">
              <a:rPr lang="en-US" sz="1000" b="1"/>
              <a:pPr/>
              <a:t>GLOBO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Espaço Reservado para Texto 5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86150" y="3813175"/>
            <a:ext cx="495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61A5EA-D250-455D-A3DA-CA21DFEB26EE}" type="datetime'''R''''''''''''''''E''''''DE'''''' T''''''''''''V!'''">
              <a:rPr lang="en-US" sz="1000" b="1"/>
              <a:pPr/>
              <a:t>REDE TV!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9" name="Espaço Reservado para Texto 3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137025" y="3813175"/>
            <a:ext cx="7477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BF1B73-6D97-49CA-90F2-C4BAC53F8E36}" type="datetime'''MÉD''''IA'''''' ''''''''''''''G''E''RA''''L'''''''''''''''">
              <a:rPr lang="en-US" sz="1000" b="1"/>
              <a:pPr/>
              <a:t>MÉDIA GERAL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" name="Espaço Reservado para Texto 4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84175" y="3813175"/>
            <a:ext cx="490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61B739-0274-424A-ABA9-CD059A51F300}" type="datetime'''B''''''''''''A''''''''''''''''''''''''N''''''''D ''TV'''''''">
              <a:rPr lang="en-US" sz="1000" b="1"/>
              <a:pPr/>
              <a:t>BAND TV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284163" y="1244600"/>
            <a:ext cx="17840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latin typeface="Eras Demi ITC" panose="020B0805030504020804" pitchFamily="34" charset="0"/>
              </a:rPr>
              <a:t>CPP R$ Domiciliar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sp>
        <p:nvSpPr>
          <p:cNvPr id="218" name="CaixaDeTexto 217"/>
          <p:cNvSpPr txBox="1"/>
          <p:nvPr/>
        </p:nvSpPr>
        <p:spPr>
          <a:xfrm>
            <a:off x="5561234" y="3973710"/>
            <a:ext cx="23794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latin typeface="Eras Demi ITC" panose="020B0805030504020804" pitchFamily="34" charset="0"/>
              </a:rPr>
              <a:t>CPP R$ MM ABCDE 18+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graphicFrame>
        <p:nvGraphicFramePr>
          <p:cNvPr id="71" name="Objeto 70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80467141"/>
              </p:ext>
            </p:extLst>
          </p:nvPr>
        </p:nvGraphicFramePr>
        <p:xfrm>
          <a:off x="5486400" y="4305300"/>
          <a:ext cx="4886251" cy="21049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" name="Gráfico" r:id="rId31" imgW="4886251" imgH="2104920" progId="MSGraph.Chart.8">
                  <p:embed followColorScheme="full"/>
                </p:oleObj>
              </mc:Choice>
              <mc:Fallback>
                <p:oleObj name="Gráfico" r:id="rId31" imgW="4886251" imgH="21049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5486400" y="4305300"/>
                        <a:ext cx="4886251" cy="21049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Conector reto 71"/>
          <p:cNvCxnSpPr/>
          <p:nvPr>
            <p:custDataLst>
              <p:tags r:id="rId16"/>
            </p:custDataLst>
          </p:nvPr>
        </p:nvCxnSpPr>
        <p:spPr bwMode="auto">
          <a:xfrm flipV="1">
            <a:off x="9882188" y="4383088"/>
            <a:ext cx="0" cy="6477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to 72"/>
          <p:cNvCxnSpPr/>
          <p:nvPr>
            <p:custDataLst>
              <p:tags r:id="rId17"/>
            </p:custDataLst>
          </p:nvPr>
        </p:nvCxnSpPr>
        <p:spPr bwMode="auto">
          <a:xfrm flipH="1">
            <a:off x="6000750" y="4383088"/>
            <a:ext cx="38814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to 73"/>
          <p:cNvCxnSpPr/>
          <p:nvPr>
            <p:custDataLst>
              <p:tags r:id="rId18"/>
            </p:custDataLst>
          </p:nvPr>
        </p:nvCxnSpPr>
        <p:spPr bwMode="auto">
          <a:xfrm>
            <a:off x="6000750" y="4383088"/>
            <a:ext cx="0" cy="10382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Espaço Reservado para Texto 51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226425" y="6423025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4DB0A-21A6-4C38-A470-2CEE91FBA02F}" type="datetime'''''''''''''S''''B''''''''''''T'''''''''''''''''''''''''''''''">
              <a:rPr lang="en-US" sz="1000" b="1"/>
              <a:pPr/>
              <a:t>SBT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6" name="Espaço Reservado para Texto 50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329488" y="6423025"/>
            <a:ext cx="449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E1B066-6EDE-4584-BD83-3C351A77DFFE}" type="datetime'''''''R''''E''''''''''''''C''''O''''R''''''''D'''''">
              <a:rPr lang="en-US" sz="1000" b="1"/>
              <a:pPr/>
              <a:t>RECORD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7" name="Espaço Reservado para Texto 8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685088" y="4257675"/>
            <a:ext cx="511175" cy="2524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A2AE72E-D92A-44BA-B48A-1213CDC0E70B}" type="datetime'''''''''''''-''''''''''''''''''''''''''''3''''''''''8''''%'">
              <a:rPr lang="en-US" sz="13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38%</a:t>
            </a:fld>
            <a:endParaRPr lang="pt-BR" sz="13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78" name="Espaço Reservado para Texto 49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581775" y="6423025"/>
            <a:ext cx="390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70D54D-EDB6-458B-A00F-23B55B593F8A}" type="datetime'''''''G''''''''''''''''''''L''''''''''O''''''''''BO'">
              <a:rPr lang="en-US" sz="1000" b="1"/>
              <a:pPr/>
              <a:t>GLOBO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9" name="Espaço Reservado para Texto 58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858250" y="6423025"/>
            <a:ext cx="495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546F91-DCE1-4370-8633-5F5583DC3C4B}" type="datetime'''''''RED''''''''''''''E ''''''''T''''''''''''''''''V''!'''''">
              <a:rPr lang="en-US" sz="1000" b="1"/>
              <a:pPr/>
              <a:t>REDE TV!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0" name="Espaço Reservado para Texto 31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509125" y="6423025"/>
            <a:ext cx="7477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A1F3CF-5DE1-47A9-8DF3-844E63D13ECD}" type="datetime'MÉ''D''''''''I''''''A'' ''G''''''''''E''''R''''''''''''A''L'">
              <a:rPr lang="en-US" sz="1000" b="1"/>
              <a:pPr/>
              <a:t>MÉDIA GERAL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1" name="Espaço Reservado para Texto 48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756275" y="6423025"/>
            <a:ext cx="490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4C0AC8-EB70-451B-A725-C6DF36960EDC}" type="datetime'B''A''N''D'''''''' ''''''''''''''''''T''''''''''V'''''">
              <a:rPr lang="en-US" sz="1000" b="1"/>
              <a:pPr/>
              <a:t>BAND TV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376822321"/>
              </p:ext>
            </p:extLst>
          </p:nvPr>
        </p:nvGraphicFramePr>
        <p:xfrm>
          <a:off x="284163" y="4821148"/>
          <a:ext cx="5060950" cy="12003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83" name="Diagrama 82"/>
          <p:cNvGraphicFramePr/>
          <p:nvPr>
            <p:extLst>
              <p:ext uri="{D42A27DB-BD31-4B8C-83A1-F6EECF244321}">
                <p14:modId xmlns:p14="http://schemas.microsoft.com/office/powerpoint/2010/main" val="1392228019"/>
              </p:ext>
            </p:extLst>
          </p:nvPr>
        </p:nvGraphicFramePr>
        <p:xfrm>
          <a:off x="5465996" y="2016788"/>
          <a:ext cx="5060950" cy="12003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sp>
        <p:nvSpPr>
          <p:cNvPr id="84" name="CaixaDeTexto 83"/>
          <p:cNvSpPr txBox="1"/>
          <p:nvPr/>
        </p:nvSpPr>
        <p:spPr>
          <a:xfrm>
            <a:off x="6000750" y="6680978"/>
            <a:ext cx="46052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2014 - Valores líquidos com descontos estimados:</a:t>
            </a:r>
          </a:p>
          <a:p>
            <a:r>
              <a:rPr lang="pt-BR" sz="900" dirty="0" smtClean="0"/>
              <a:t>Band TV: 96,5%, Globo: 25%, Record e SBT: 92% e Rede TV!: 97%.</a:t>
            </a:r>
          </a:p>
          <a:p>
            <a:r>
              <a:rPr lang="pt-BR" sz="900" dirty="0" smtClean="0"/>
              <a:t>GRP </a:t>
            </a:r>
            <a:r>
              <a:rPr lang="pt-BR" sz="900" dirty="0"/>
              <a:t>e TRP Ponderado NET conforme critérios de conversão da </a:t>
            </a:r>
            <a:r>
              <a:rPr lang="pt-BR" sz="900" dirty="0" smtClean="0"/>
              <a:t>secundagem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57479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002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1" name="Slide do think-cell" r:id="rId27" imgW="270" imgH="270" progId="TCLayout.ActiveDocument.1">
                  <p:embed/>
                </p:oleObj>
              </mc:Choice>
              <mc:Fallback>
                <p:oleObj name="Slide do think-cell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/>
              <a:sym typeface="Eras Medium ITC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406651" y="564507"/>
            <a:ext cx="59772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Rentabilidade TV Aberta projetada para 2015 com reajustes de tabela estimados </a:t>
            </a:r>
            <a:endParaRPr lang="pt-BR" dirty="0"/>
          </a:p>
        </p:txBody>
      </p:sp>
      <p:graphicFrame>
        <p:nvGraphicFramePr>
          <p:cNvPr id="37" name="Objeto 3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57376258"/>
              </p:ext>
            </p:extLst>
          </p:nvPr>
        </p:nvGraphicFramePr>
        <p:xfrm>
          <a:off x="114300" y="1714500"/>
          <a:ext cx="4886251" cy="2086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2" name="Gráfico" r:id="rId29" imgW="4886251" imgH="2086020" progId="MSGraph.Chart.8">
                  <p:embed followColorScheme="full"/>
                </p:oleObj>
              </mc:Choice>
              <mc:Fallback>
                <p:oleObj name="Gráfico" r:id="rId29" imgW="4886251" imgH="20860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14300" y="1714500"/>
                        <a:ext cx="4886251" cy="2086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>
            <p:custDataLst>
              <p:tags r:id="rId5"/>
            </p:custDataLst>
          </p:nvPr>
        </p:nvCxnSpPr>
        <p:spPr bwMode="auto">
          <a:xfrm flipH="1">
            <a:off x="628650" y="1782763"/>
            <a:ext cx="38814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to 1"/>
          <p:cNvCxnSpPr/>
          <p:nvPr>
            <p:custDataLst>
              <p:tags r:id="rId6"/>
            </p:custDataLst>
          </p:nvPr>
        </p:nvCxnSpPr>
        <p:spPr bwMode="auto">
          <a:xfrm flipV="1">
            <a:off x="4510088" y="1782763"/>
            <a:ext cx="0" cy="71437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to 5"/>
          <p:cNvCxnSpPr/>
          <p:nvPr>
            <p:custDataLst>
              <p:tags r:id="rId7"/>
            </p:custDataLst>
          </p:nvPr>
        </p:nvCxnSpPr>
        <p:spPr bwMode="auto">
          <a:xfrm>
            <a:off x="628650" y="1782763"/>
            <a:ext cx="0" cy="12477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Espaço Reservado para Texto 49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09675" y="3813175"/>
            <a:ext cx="390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190478-C0F9-4194-9EA4-2983338CF2B0}" type="datetime'G''''''''''''''''''''''''L''''''''''''''''O''''B''''''O'''''">
              <a:rPr lang="en-US" sz="1000" b="1"/>
              <a:pPr/>
              <a:t>GLOBO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" name="Espaço Reservado para Texto 4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4175" y="3813175"/>
            <a:ext cx="490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61B739-0274-424A-ABA9-CD059A51F300}" type="datetime'''B''''''''''''A''''''''''''''''''''''''N''''''''D ''TV'''''''">
              <a:rPr lang="en-US" sz="1000" b="1"/>
              <a:pPr/>
              <a:t>BAND TV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Espaço Reservado para Texto 5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486150" y="3813175"/>
            <a:ext cx="495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61A5EA-D250-455D-A3DA-CA21DFEB26EE}" type="datetime'''R''''''''''''''''E''''''DE'''''' T''''''''''''V!'''">
              <a:rPr lang="en-US" sz="1000" b="1"/>
              <a:pPr/>
              <a:t>REDE TV!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1" name="Espaço Reservado para Texto 5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54325" y="3813175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3A16E1-5297-48F9-8B68-6A3FA10B9B2D}" type="datetime'''''''S''''''''''''''''''''''B''''''''''''T'''''''''''">
              <a:rPr lang="en-US" sz="1000" b="1"/>
              <a:pPr/>
              <a:t>SBT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Espaço Reservado para Texto 5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57388" y="3813175"/>
            <a:ext cx="449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8E7C92-773E-44C4-81E6-5054D8671F35}" type="datetime'''''''''''''''''R''''''''E''''C''''''O''''''''''RD'''''''''">
              <a:rPr lang="en-US" sz="1000" b="1"/>
              <a:pPr/>
              <a:t>RECORD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9" name="Espaço Reservado para Texto 3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137025" y="3813175"/>
            <a:ext cx="7477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BF1B73-6D97-49CA-90F2-C4BAC53F8E36}" type="datetime'''MÉD''''IA'''''' ''''''''''''''G''E''RA''''L'''''''''''''''">
              <a:rPr lang="en-US" sz="1000" b="1"/>
              <a:pPr/>
              <a:t>MÉDIA GERAL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4" name="Espaço Reservado para Texto 8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312988" y="1657350"/>
            <a:ext cx="511175" cy="2524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8CE4FD8-3B65-4DA4-A855-245FA8E81B38}" type="datetime'''''''''-''''''''''''5''''''''''''''''''''6%'''">
              <a:rPr lang="en-US" sz="13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56%</a:t>
            </a:fld>
            <a:endParaRPr lang="pt-BR" sz="13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284163" y="1244600"/>
            <a:ext cx="17840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latin typeface="Eras Demi ITC" panose="020B0805030504020804" pitchFamily="34" charset="0"/>
              </a:rPr>
              <a:t>CPP R$ Domiciliar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sp>
        <p:nvSpPr>
          <p:cNvPr id="218" name="CaixaDeTexto 217"/>
          <p:cNvSpPr txBox="1"/>
          <p:nvPr/>
        </p:nvSpPr>
        <p:spPr>
          <a:xfrm>
            <a:off x="284163" y="4225925"/>
            <a:ext cx="23794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latin typeface="Eras Demi ITC" panose="020B0805030504020804" pitchFamily="34" charset="0"/>
              </a:rPr>
              <a:t>CPP R$ MM ABCDE 18+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graphicFrame>
        <p:nvGraphicFramePr>
          <p:cNvPr id="71" name="Objeto 70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35456224"/>
              </p:ext>
            </p:extLst>
          </p:nvPr>
        </p:nvGraphicFramePr>
        <p:xfrm>
          <a:off x="228599" y="4533900"/>
          <a:ext cx="4867349" cy="21240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3" name="Gráfico" r:id="rId31" imgW="4867349" imgH="2124090" progId="MSGraph.Chart.8">
                  <p:embed followColorScheme="full"/>
                </p:oleObj>
              </mc:Choice>
              <mc:Fallback>
                <p:oleObj name="Gráfico" r:id="rId31" imgW="4867349" imgH="21240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28599" y="4533900"/>
                        <a:ext cx="4867349" cy="21240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Conector reto 13"/>
          <p:cNvCxnSpPr/>
          <p:nvPr>
            <p:custDataLst>
              <p:tags r:id="rId16"/>
            </p:custDataLst>
          </p:nvPr>
        </p:nvCxnSpPr>
        <p:spPr bwMode="auto">
          <a:xfrm>
            <a:off x="714375" y="4624388"/>
            <a:ext cx="0" cy="10477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>
            <p:custDataLst>
              <p:tags r:id="rId17"/>
            </p:custDataLst>
          </p:nvPr>
        </p:nvCxnSpPr>
        <p:spPr bwMode="auto">
          <a:xfrm flipV="1">
            <a:off x="4595813" y="4624388"/>
            <a:ext cx="0" cy="63817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>
            <p:custDataLst>
              <p:tags r:id="rId18"/>
            </p:custDataLst>
          </p:nvPr>
        </p:nvCxnSpPr>
        <p:spPr bwMode="auto">
          <a:xfrm flipH="1">
            <a:off x="714375" y="4624388"/>
            <a:ext cx="38814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Espaço Reservado para Texto 51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940050" y="6680200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4DB0A-21A6-4C38-A470-2CEE91FBA02F}" type="datetime'''''''''''''S''''B''''''''''''T'''''''''''''''''''''''''''''''">
              <a:rPr lang="en-US" sz="1000" b="1"/>
              <a:pPr/>
              <a:t>SBT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9" name="Espaço Reservado para Texto 58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571875" y="6680200"/>
            <a:ext cx="495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546F91-DCE1-4370-8633-5F5583DC3C4B}" type="datetime'''''''RED''''''''''''''E ''''''''T''''''''''''''''''V''!'''''">
              <a:rPr lang="en-US" sz="1000" b="1"/>
              <a:pPr/>
              <a:t>REDE TV!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1" name="Espaço Reservado para Texto 48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69900" y="6680200"/>
            <a:ext cx="490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4C0AC8-EB70-451B-A725-C6DF36960EDC}" type="datetime'B''A''N''D'''''''' ''''''''''''''''''T''''''''''V'''''">
              <a:rPr lang="en-US" sz="1000" b="1"/>
              <a:pPr/>
              <a:t>BAND TV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9" name="Espaço Reservado para Texto 9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398713" y="4498975"/>
            <a:ext cx="511175" cy="2524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1E8AC6-F92F-49D9-B934-49D47C5C5B36}" type="datetime'''''''''''-''''3''''''9%'''''''''">
              <a:rPr lang="en-US" sz="13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39%</a:t>
            </a:fld>
            <a:endParaRPr lang="pt-BR" sz="13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76" name="Espaço Reservado para Texto 50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043113" y="6680200"/>
            <a:ext cx="449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E1B066-6EDE-4584-BD83-3C351A77DFFE}" type="datetime'''''''R''''E''''''''''''''C''''O''''R''''''''D'''''">
              <a:rPr lang="en-US" sz="1000" b="1"/>
              <a:pPr/>
              <a:t>RECORD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8" name="Espaço Reservado para Texto 49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295400" y="6680200"/>
            <a:ext cx="390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70D54D-EDB6-458B-A00F-23B55B593F8A}" type="datetime'''''''G''''''''''''''''''''L''''''''''O''''''''''BO'">
              <a:rPr lang="en-US" sz="1000" b="1"/>
              <a:pPr/>
              <a:t>GLOBO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0" name="Espaço Reservado para Texto 31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222750" y="6680200"/>
            <a:ext cx="7477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A1F3CF-5DE1-47A9-8DF3-844E63D13ECD}" type="datetime'MÉ''D''''''''I''''''A'' ''G''''''''''E''''R''''''''''''A''L'">
              <a:rPr lang="en-US" sz="1000" b="1"/>
              <a:pPr/>
              <a:t>MÉDIA GERAL</a:t>
            </a:fld>
            <a:endParaRPr lang="pt-BR" sz="1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4" name="CaixaDeTexto 83"/>
          <p:cNvSpPr txBox="1"/>
          <p:nvPr/>
        </p:nvSpPr>
        <p:spPr>
          <a:xfrm>
            <a:off x="6000750" y="6680978"/>
            <a:ext cx="46052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2014 - Valores líquidos com descontos estimados:</a:t>
            </a:r>
          </a:p>
          <a:p>
            <a:r>
              <a:rPr lang="pt-BR" sz="900" dirty="0" smtClean="0"/>
              <a:t>Band TV: 96,5%, Globo: 25%, Record e SBT: 92% e Rede TV!: 97%.</a:t>
            </a:r>
          </a:p>
          <a:p>
            <a:r>
              <a:rPr lang="pt-BR" sz="900" dirty="0" smtClean="0"/>
              <a:t>GRP </a:t>
            </a:r>
            <a:r>
              <a:rPr lang="pt-BR" sz="900" dirty="0"/>
              <a:t>e TRP Ponderado NET conforme critérios de conversão da </a:t>
            </a:r>
            <a:r>
              <a:rPr lang="pt-BR" sz="900" dirty="0" smtClean="0"/>
              <a:t>secundagem.</a:t>
            </a:r>
            <a:endParaRPr lang="pt-BR" sz="900" dirty="0"/>
          </a:p>
        </p:txBody>
      </p:sp>
      <p:graphicFrame>
        <p:nvGraphicFramePr>
          <p:cNvPr id="18" name="Tabe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280531"/>
              </p:ext>
            </p:extLst>
          </p:nvPr>
        </p:nvGraphicFramePr>
        <p:xfrm>
          <a:off x="6290091" y="2690783"/>
          <a:ext cx="3866782" cy="289277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33391"/>
                <a:gridCol w="1933391"/>
              </a:tblGrid>
              <a:tr h="450538"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 smtClean="0">
                          <a:latin typeface="Eras Medium ITC" panose="020B0602030504020804" pitchFamily="34" charset="0"/>
                        </a:rPr>
                        <a:t>Emissoras</a:t>
                      </a:r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 smtClean="0">
                          <a:latin typeface="Eras Medium ITC" panose="020B0602030504020804" pitchFamily="34" charset="0"/>
                        </a:rPr>
                        <a:t>Reajuste Tabela Abril/15</a:t>
                      </a:r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450538">
                <a:tc>
                  <a:txBody>
                    <a:bodyPr/>
                    <a:lstStyle/>
                    <a:p>
                      <a:pPr algn="ctr"/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 smtClean="0">
                          <a:latin typeface="Eras Medium ITC" panose="020B0602030504020804" pitchFamily="34" charset="0"/>
                        </a:rPr>
                        <a:t>3,5%</a:t>
                      </a:r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450538">
                <a:tc>
                  <a:txBody>
                    <a:bodyPr/>
                    <a:lstStyle/>
                    <a:p>
                      <a:pPr algn="ctr"/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 smtClean="0">
                          <a:latin typeface="Eras Medium ITC" panose="020B0602030504020804" pitchFamily="34" charset="0"/>
                        </a:rPr>
                        <a:t>4,4%</a:t>
                      </a:r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450538">
                <a:tc>
                  <a:txBody>
                    <a:bodyPr/>
                    <a:lstStyle/>
                    <a:p>
                      <a:pPr algn="ctr"/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 smtClean="0">
                          <a:latin typeface="Eras Medium ITC" panose="020B0602030504020804" pitchFamily="34" charset="0"/>
                        </a:rPr>
                        <a:t>4,0%</a:t>
                      </a:r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450538">
                <a:tc>
                  <a:txBody>
                    <a:bodyPr/>
                    <a:lstStyle/>
                    <a:p>
                      <a:pPr algn="ctr"/>
                      <a:endParaRPr lang="pt-BR" sz="1800" b="1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 smtClean="0">
                          <a:latin typeface="Eras Medium ITC" panose="020B0602030504020804" pitchFamily="34" charset="0"/>
                        </a:rPr>
                        <a:t>7,6%</a:t>
                      </a:r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450538">
                <a:tc>
                  <a:txBody>
                    <a:bodyPr/>
                    <a:lstStyle/>
                    <a:p>
                      <a:pPr algn="ctr"/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1" dirty="0" smtClean="0">
                          <a:latin typeface="Eras Medium ITC" panose="020B0602030504020804" pitchFamily="34" charset="0"/>
                        </a:rPr>
                        <a:t>4,0%</a:t>
                      </a:r>
                      <a:endParaRPr lang="pt-BR" sz="18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46" name="Imagem 45"/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37" t="-1" r="14553" b="1349"/>
          <a:stretch/>
        </p:blipFill>
        <p:spPr>
          <a:xfrm>
            <a:off x="6993541" y="3325973"/>
            <a:ext cx="535596" cy="446282"/>
          </a:xfrm>
          <a:prstGeom prst="rect">
            <a:avLst/>
          </a:prstGeom>
        </p:spPr>
      </p:pic>
      <p:pic>
        <p:nvPicPr>
          <p:cNvPr id="47" name="Imagem 4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9716" y="3802027"/>
            <a:ext cx="403246" cy="408623"/>
          </a:xfrm>
          <a:prstGeom prst="rect">
            <a:avLst/>
          </a:prstGeom>
        </p:spPr>
      </p:pic>
      <p:pic>
        <p:nvPicPr>
          <p:cNvPr id="48" name="Imagem 47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717" y="4281286"/>
            <a:ext cx="389244" cy="389244"/>
          </a:xfrm>
          <a:prstGeom prst="rect">
            <a:avLst/>
          </a:prstGeom>
        </p:spPr>
      </p:pic>
      <p:pic>
        <p:nvPicPr>
          <p:cNvPr id="49" name="Imagem 48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4048" y="4725072"/>
            <a:ext cx="414583" cy="420236"/>
          </a:xfrm>
          <a:prstGeom prst="rect">
            <a:avLst/>
          </a:prstGeom>
        </p:spPr>
      </p:pic>
      <p:pic>
        <p:nvPicPr>
          <p:cNvPr id="53" name="Imagem 52"/>
          <p:cNvPicPr>
            <a:picLocks noChangeAspect="1"/>
          </p:cNvPicPr>
          <p:nvPr/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06" r="-4824" b="18665"/>
          <a:stretch/>
        </p:blipFill>
        <p:spPr>
          <a:xfrm>
            <a:off x="6946847" y="5145308"/>
            <a:ext cx="657120" cy="416433"/>
          </a:xfrm>
          <a:prstGeom prst="rect">
            <a:avLst/>
          </a:prstGeom>
        </p:spPr>
      </p:pic>
      <p:sp>
        <p:nvSpPr>
          <p:cNvPr id="55" name="CaixaDeTexto 54"/>
          <p:cNvSpPr txBox="1"/>
          <p:nvPr/>
        </p:nvSpPr>
        <p:spPr>
          <a:xfrm>
            <a:off x="6304158" y="5646452"/>
            <a:ext cx="386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 smtClean="0"/>
              <a:t>(*) Rede </a:t>
            </a:r>
            <a:r>
              <a:rPr lang="pt-BR" sz="900" dirty="0"/>
              <a:t>TV e Record ainda não liberaram tabela para o mercado, com isso, o </a:t>
            </a:r>
            <a:r>
              <a:rPr lang="pt-BR" sz="900" dirty="0" smtClean="0"/>
              <a:t>reajuste </a:t>
            </a:r>
            <a:r>
              <a:rPr lang="pt-BR" sz="900" dirty="0"/>
              <a:t>foi </a:t>
            </a:r>
            <a:r>
              <a:rPr lang="pt-BR" sz="900" dirty="0" smtClean="0"/>
              <a:t>estimado </a:t>
            </a:r>
            <a:r>
              <a:rPr lang="pt-BR" sz="900" dirty="0"/>
              <a:t>em 4% para Abril/2015.</a:t>
            </a:r>
          </a:p>
        </p:txBody>
      </p:sp>
    </p:spTree>
    <p:extLst>
      <p:ext uri="{BB962C8B-B14F-4D97-AF65-F5344CB8AC3E}">
        <p14:creationId xmlns:p14="http://schemas.microsoft.com/office/powerpoint/2010/main" val="185322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565505" y="2904262"/>
            <a:ext cx="75576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de Rentabilidade e Capacidade de Cobertura dos Programas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215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to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502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tângulo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000">
              <a:latin typeface="Eras Demi ITC"/>
              <a:sym typeface="Eras Demi ITC"/>
            </a:endParaRPr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67346552"/>
              </p:ext>
            </p:extLst>
          </p:nvPr>
        </p:nvGraphicFramePr>
        <p:xfrm>
          <a:off x="38100" y="1524000"/>
          <a:ext cx="5315064" cy="46005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Gráfico" r:id="rId18" imgW="5315064" imgH="4600530" progId="MSGraph.Chart.8">
                  <p:embed followColorScheme="full"/>
                </p:oleObj>
              </mc:Choice>
              <mc:Fallback>
                <p:oleObj name="Gráfico" r:id="rId18" imgW="5315064" imgH="46005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8100" y="1524000"/>
                        <a:ext cx="5315064" cy="46005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Texto 120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93688" y="1506538"/>
            <a:ext cx="765175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A0DEFB-7B7F-4277-98AF-238A988BC18A}" type="datetime'''CP''''P'' 201''''''5'' ''''''MM'' ''''18+'''''''''''">
              <a:rPr lang="en-US" sz="700">
                <a:latin typeface="Eras Demi ITC"/>
                <a:sym typeface="Eras Demi ITC"/>
              </a:rPr>
              <a:pPr/>
              <a:t>CPP 2015 MM 18+</a:t>
            </a:fld>
            <a:endParaRPr lang="pt-BR" sz="700" dirty="0">
              <a:latin typeface="Eras Demi ITC"/>
              <a:sym typeface="Eras Demi ITC"/>
            </a:endParaRPr>
          </a:p>
        </p:txBody>
      </p:sp>
      <p:sp>
        <p:nvSpPr>
          <p:cNvPr id="4" name="Espaço Reservado para Texto 119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249863" y="5614988"/>
            <a:ext cx="790575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4029761-A188-4091-AED4-3D19B837663A}" type="datetime'''''A''u''''''''''diê''''''''''n''''ci''''a M''M 18+'''''''">
              <a:rPr lang="en-US" sz="700">
                <a:latin typeface="Eras Demi ITC"/>
                <a:sym typeface="Eras Demi ITC"/>
              </a:rPr>
              <a:pPr/>
              <a:t>Audiência MM 18+</a:t>
            </a:fld>
            <a:endParaRPr lang="pt-BR" sz="700" dirty="0">
              <a:latin typeface="Eras Demi ITC"/>
              <a:sym typeface="Eras Demi ITC"/>
            </a:endParaRPr>
          </a:p>
        </p:txBody>
      </p:sp>
      <p:sp>
        <p:nvSpPr>
          <p:cNvPr id="7" name="Losango 6"/>
          <p:cNvSpPr/>
          <p:nvPr>
            <p:custDataLst>
              <p:tags r:id="rId7"/>
            </p:custDataLst>
          </p:nvPr>
        </p:nvSpPr>
        <p:spPr bwMode="auto">
          <a:xfrm>
            <a:off x="5240338" y="2078038"/>
            <a:ext cx="76200" cy="76200"/>
          </a:xfrm>
          <a:prstGeom prst="diamond">
            <a:avLst/>
          </a:prstGeom>
          <a:solidFill>
            <a:srgbClr val="364D6E"/>
          </a:solidFill>
          <a:ln w="9525">
            <a:solidFill>
              <a:srgbClr val="364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>
            <p:custDataLst>
              <p:tags r:id="rId8"/>
            </p:custDataLst>
          </p:nvPr>
        </p:nvSpPr>
        <p:spPr bwMode="auto">
          <a:xfrm>
            <a:off x="5240338" y="2281238"/>
            <a:ext cx="76200" cy="76200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fol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Triângulo isósceles 7"/>
          <p:cNvSpPr/>
          <p:nvPr>
            <p:custDataLst>
              <p:tags r:id="rId9"/>
            </p:custDataLst>
          </p:nvPr>
        </p:nvSpPr>
        <p:spPr bwMode="auto">
          <a:xfrm>
            <a:off x="5240338" y="1874838"/>
            <a:ext cx="76200" cy="76200"/>
          </a:xfrm>
          <a:prstGeom prst="triangle">
            <a:avLst/>
          </a:prstGeom>
          <a:solidFill>
            <a:srgbClr val="F2721C"/>
          </a:solidFill>
          <a:ln w="9525">
            <a:solidFill>
              <a:srgbClr val="F272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lipse 4"/>
          <p:cNvSpPr/>
          <p:nvPr>
            <p:custDataLst>
              <p:tags r:id="rId10"/>
            </p:custDataLst>
          </p:nvPr>
        </p:nvSpPr>
        <p:spPr bwMode="auto">
          <a:xfrm>
            <a:off x="5240338" y="1671638"/>
            <a:ext cx="76200" cy="76200"/>
          </a:xfrm>
          <a:prstGeom prst="ellipse">
            <a:avLst/>
          </a:prstGeom>
          <a:solidFill>
            <a:srgbClr val="046212"/>
          </a:solidFill>
          <a:ln w="9525">
            <a:solidFill>
              <a:srgbClr val="0462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spaço Reservado para Texto 22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419725" y="2249488"/>
            <a:ext cx="220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DB9AEB-B751-4CB8-8CBB-232823A5B109}" type="datetime'''''''''''''''''''''''''''''''''''''''''''''''''''S''B''''''T'">
              <a:rPr lang="en-US" sz="1000">
                <a:latin typeface="Eras Demi ITC"/>
                <a:sym typeface="Eras Demi ITC"/>
              </a:rPr>
              <a:pPr/>
              <a:t>SBT</a:t>
            </a:fld>
            <a:endParaRPr lang="pt-BR" sz="1000" dirty="0">
              <a:latin typeface="Eras Demi ITC"/>
              <a:sym typeface="Eras Demi ITC"/>
            </a:endParaRPr>
          </a:p>
        </p:txBody>
      </p:sp>
      <p:sp>
        <p:nvSpPr>
          <p:cNvPr id="10" name="Espaço Reservado para Texto 22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19724" y="2046288"/>
            <a:ext cx="2428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0980893-16C4-4FCB-935A-28FECE389FFA}" type="datetime'R''''''''''''''''''''''''''T''V'''''''''''''''''''">
              <a:rPr lang="en-US" sz="1000">
                <a:latin typeface="Eras Demi ITC"/>
                <a:sym typeface="Eras Demi ITC"/>
              </a:rPr>
              <a:pPr/>
              <a:t>RTV</a:t>
            </a:fld>
            <a:endParaRPr lang="pt-BR" sz="1000" dirty="0">
              <a:latin typeface="Eras Demi ITC"/>
              <a:sym typeface="Eras Demi ITC"/>
            </a:endParaRPr>
          </a:p>
        </p:txBody>
      </p:sp>
      <p:sp>
        <p:nvSpPr>
          <p:cNvPr id="12" name="Espaço Reservado para Texto 21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419725" y="1843088"/>
            <a:ext cx="2397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481489-7566-4935-AB43-4AED0AB70DDC}" type="datetime'''R''''''''''EC'''''''''''''''''''''''''''''''">
              <a:rPr lang="en-US" sz="1000">
                <a:latin typeface="Eras Demi ITC"/>
                <a:sym typeface="Eras Demi ITC"/>
              </a:rPr>
              <a:pPr/>
              <a:t>REC</a:t>
            </a:fld>
            <a:endParaRPr lang="pt-BR" sz="1000" dirty="0">
              <a:latin typeface="Eras Demi ITC"/>
              <a:sym typeface="Eras Demi ITC"/>
            </a:endParaRPr>
          </a:p>
        </p:txBody>
      </p:sp>
      <p:sp>
        <p:nvSpPr>
          <p:cNvPr id="11" name="Espaço Reservado para Texto 21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9725" y="1639888"/>
            <a:ext cx="277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C82679-F84A-449F-BE79-B779BCE91D82}" type="datetime'''''''''''''''''''B''''''''''''A''''N'''''''''''''''">
              <a:rPr lang="en-US" sz="1000">
                <a:latin typeface="Eras Demi ITC"/>
                <a:sym typeface="Eras Demi ITC"/>
              </a:rPr>
              <a:pPr/>
              <a:t>BAN</a:t>
            </a:fld>
            <a:endParaRPr lang="pt-BR" sz="1000" dirty="0">
              <a:latin typeface="Eras Demi ITC"/>
              <a:sym typeface="Eras Demi ITC"/>
            </a:endParaRPr>
          </a:p>
        </p:txBody>
      </p:sp>
      <p:cxnSp>
        <p:nvCxnSpPr>
          <p:cNvPr id="13" name="Conector reto 12"/>
          <p:cNvCxnSpPr/>
          <p:nvPr/>
        </p:nvCxnSpPr>
        <p:spPr>
          <a:xfrm flipV="1">
            <a:off x="2036763" y="1757363"/>
            <a:ext cx="0" cy="3929062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/>
        </p:nvCxnSpPr>
        <p:spPr>
          <a:xfrm>
            <a:off x="679450" y="3900488"/>
            <a:ext cx="4500298" cy="0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/>
          <p:cNvSpPr txBox="1"/>
          <p:nvPr/>
        </p:nvSpPr>
        <p:spPr>
          <a:xfrm rot="16200000">
            <a:off x="1367573" y="2316163"/>
            <a:ext cx="149752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700" dirty="0" smtClean="0">
                <a:latin typeface="Eras Demi ITC" panose="020B0805030504020804" pitchFamily="34" charset="0"/>
              </a:rPr>
              <a:t>Audiência média MM 18+ = 1,5</a:t>
            </a:r>
            <a:endParaRPr lang="pt-BR" sz="700" dirty="0">
              <a:latin typeface="Eras Demi ITC" panose="020B0805030504020804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3765420" y="3870064"/>
            <a:ext cx="147829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700" dirty="0" smtClean="0">
                <a:latin typeface="Eras Demi ITC" panose="020B0805030504020804" pitchFamily="34" charset="0"/>
              </a:rPr>
              <a:t>CPP médio MM 18+ = R$ 6.986</a:t>
            </a:r>
            <a:endParaRPr lang="pt-BR" sz="700" dirty="0">
              <a:latin typeface="Eras Demi ITC" panose="020B0805030504020804" pitchFamily="34" charset="0"/>
            </a:endParaRPr>
          </a:p>
        </p:txBody>
      </p:sp>
      <p:pic>
        <p:nvPicPr>
          <p:cNvPr id="17" name="Picture 10" descr="http://www.clker.com/cliparts/U/E/H/6/K/U/black-curved-arrow-hi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27294">
            <a:off x="1203325" y="5764213"/>
            <a:ext cx="941750" cy="484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aixaDeTexto 17"/>
          <p:cNvSpPr txBox="1"/>
          <p:nvPr/>
        </p:nvSpPr>
        <p:spPr>
          <a:xfrm>
            <a:off x="2084388" y="6091238"/>
            <a:ext cx="3825086" cy="553998"/>
          </a:xfrm>
          <a:prstGeom prst="rect">
            <a:avLst/>
          </a:prstGeom>
          <a:solidFill>
            <a:srgbClr val="92D050">
              <a:alpha val="25000"/>
            </a:srgbClr>
          </a:solidFill>
          <a:ln>
            <a:solidFill>
              <a:srgbClr val="006600"/>
            </a:solidFill>
          </a:ln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Eras Demi ITC" panose="020B0805030504020804" pitchFamily="34" charset="0"/>
              </a:rPr>
              <a:t>MAIS RENTÁVEL</a:t>
            </a:r>
          </a:p>
          <a:p>
            <a:r>
              <a:rPr lang="pt-BR" sz="1000" dirty="0" smtClean="0">
                <a:latin typeface="Eras Demi ITC" panose="020B0805030504020804" pitchFamily="34" charset="0"/>
              </a:rPr>
              <a:t>VELOCIDADE DE COBERTURA DE MÉDIO A LONGO PRAZO</a:t>
            </a:r>
          </a:p>
          <a:p>
            <a:r>
              <a:rPr lang="pt-BR" sz="1000" b="1" u="sng" dirty="0" smtClean="0">
                <a:latin typeface="Eras Demi ITC" panose="020B0805030504020804" pitchFamily="34" charset="0"/>
              </a:rPr>
              <a:t>OBJETIVO: Rentabilidade e mídia linear</a:t>
            </a:r>
            <a:endParaRPr lang="pt-BR" sz="1000" b="1" u="sng" dirty="0">
              <a:latin typeface="Eras Demi ITC" panose="020B0805030504020804" pitchFamily="34" charset="0"/>
            </a:endParaRPr>
          </a:p>
        </p:txBody>
      </p:sp>
      <p:pic>
        <p:nvPicPr>
          <p:cNvPr id="19" name="Picture 10" descr="http://www.clker.com/cliparts/U/E/H/6/K/U/black-curved-arrow-hi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959114">
            <a:off x="4296481" y="4982047"/>
            <a:ext cx="564036" cy="484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CaixaDeTexto 19"/>
          <p:cNvSpPr txBox="1"/>
          <p:nvPr/>
        </p:nvSpPr>
        <p:spPr>
          <a:xfrm>
            <a:off x="4969290" y="4503257"/>
            <a:ext cx="2007709" cy="1015663"/>
          </a:xfrm>
          <a:prstGeom prst="rect">
            <a:avLst/>
          </a:prstGeom>
          <a:solidFill>
            <a:srgbClr val="92D050">
              <a:alpha val="25000"/>
            </a:srgbClr>
          </a:solidFill>
          <a:ln>
            <a:solidFill>
              <a:srgbClr val="006600"/>
            </a:solidFill>
          </a:ln>
        </p:spPr>
        <p:txBody>
          <a:bodyPr wrap="square" rtlCol="0">
            <a:spAutoFit/>
          </a:bodyPr>
          <a:lstStyle/>
          <a:p>
            <a:r>
              <a:rPr lang="pt-BR" sz="1000" dirty="0" smtClean="0">
                <a:latin typeface="Eras Demi ITC" panose="020B0805030504020804" pitchFamily="34" charset="0"/>
              </a:rPr>
              <a:t>MAIS RENTÁVEL</a:t>
            </a:r>
          </a:p>
          <a:p>
            <a:r>
              <a:rPr lang="pt-BR" sz="1000" dirty="0" smtClean="0">
                <a:latin typeface="Eras Demi ITC" panose="020B0805030504020804" pitchFamily="34" charset="0"/>
              </a:rPr>
              <a:t>VELOCIDADE DE COBERTURA DE CURTO A MÉDIO PRAZO</a:t>
            </a:r>
          </a:p>
          <a:p>
            <a:r>
              <a:rPr lang="pt-BR" sz="1000" b="1" u="sng" dirty="0" smtClean="0">
                <a:latin typeface="Eras Demi ITC" panose="020B0805030504020804" pitchFamily="34" charset="0"/>
              </a:rPr>
              <a:t>OBJETIVO: Rentabilidade e capacidade de cobertura</a:t>
            </a:r>
            <a:endParaRPr lang="pt-BR" sz="1000" b="1" u="sng" dirty="0">
              <a:latin typeface="Eras Demi ITC" panose="020B0805030504020804" pitchFamily="34" charset="0"/>
            </a:endParaRPr>
          </a:p>
        </p:txBody>
      </p:sp>
      <p:pic>
        <p:nvPicPr>
          <p:cNvPr id="21" name="Picture 10" descr="http://www.clker.com/cliparts/U/E/H/6/K/U/black-curved-arrow-hi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959114">
            <a:off x="4296481" y="2845272"/>
            <a:ext cx="564036" cy="484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CaixaDeTexto 21"/>
          <p:cNvSpPr txBox="1"/>
          <p:nvPr/>
        </p:nvSpPr>
        <p:spPr>
          <a:xfrm>
            <a:off x="4940284" y="2581275"/>
            <a:ext cx="2036715" cy="861774"/>
          </a:xfrm>
          <a:prstGeom prst="rect">
            <a:avLst/>
          </a:prstGeom>
          <a:solidFill>
            <a:srgbClr val="92D050">
              <a:alpha val="25000"/>
            </a:srgbClr>
          </a:solidFill>
          <a:ln>
            <a:solidFill>
              <a:srgbClr val="006600"/>
            </a:solidFill>
          </a:ln>
        </p:spPr>
        <p:txBody>
          <a:bodyPr wrap="square" rtlCol="0">
            <a:spAutoFit/>
          </a:bodyPr>
          <a:lstStyle/>
          <a:p>
            <a:r>
              <a:rPr lang="pt-BR" sz="1000" dirty="0" smtClean="0">
                <a:latin typeface="Eras Demi ITC" panose="020B0805030504020804" pitchFamily="34" charset="0"/>
              </a:rPr>
              <a:t>NÃO RENTÁVEL</a:t>
            </a:r>
          </a:p>
          <a:p>
            <a:r>
              <a:rPr lang="pt-BR" sz="1000" dirty="0" smtClean="0">
                <a:latin typeface="Eras Demi ITC" panose="020B0805030504020804" pitchFamily="34" charset="0"/>
              </a:rPr>
              <a:t>VELOCIDADE DE COBERTURA DE CURTO A MÉDIO PRAZO</a:t>
            </a:r>
          </a:p>
          <a:p>
            <a:r>
              <a:rPr lang="pt-BR" sz="1000" b="1" u="sng" dirty="0" smtClean="0">
                <a:latin typeface="Eras Demi ITC" panose="020B0805030504020804" pitchFamily="34" charset="0"/>
              </a:rPr>
              <a:t>OBJETIVO: Cobertura. Mídia pontual</a:t>
            </a:r>
            <a:endParaRPr lang="pt-BR" sz="1000" b="1" u="sng" dirty="0">
              <a:latin typeface="Eras Demi ITC" panose="020B0805030504020804" pitchFamily="34" charset="0"/>
            </a:endParaRPr>
          </a:p>
        </p:txBody>
      </p:sp>
      <p:pic>
        <p:nvPicPr>
          <p:cNvPr id="23" name="Picture 10" descr="http://www.clker.com/cliparts/U/E/H/6/K/U/black-curved-arrow-hi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149767" flipV="1">
            <a:off x="1216025" y="1254125"/>
            <a:ext cx="941750" cy="484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/>
          <p:cNvSpPr txBox="1"/>
          <p:nvPr/>
        </p:nvSpPr>
        <p:spPr>
          <a:xfrm>
            <a:off x="2206625" y="1096375"/>
            <a:ext cx="2625877" cy="707886"/>
          </a:xfrm>
          <a:prstGeom prst="rect">
            <a:avLst/>
          </a:prstGeom>
          <a:solidFill>
            <a:srgbClr val="92D050">
              <a:alpha val="25000"/>
            </a:srgbClr>
          </a:solidFill>
          <a:ln>
            <a:solidFill>
              <a:srgbClr val="006600"/>
            </a:solidFill>
          </a:ln>
        </p:spPr>
        <p:txBody>
          <a:bodyPr wrap="square" rtlCol="0">
            <a:spAutoFit/>
          </a:bodyPr>
          <a:lstStyle/>
          <a:p>
            <a:r>
              <a:rPr lang="pt-BR" sz="1000" dirty="0" smtClean="0">
                <a:latin typeface="Eras Demi ITC" panose="020B0805030504020804" pitchFamily="34" charset="0"/>
              </a:rPr>
              <a:t>NÃO RENTÁVEL</a:t>
            </a:r>
          </a:p>
          <a:p>
            <a:r>
              <a:rPr lang="pt-BR" sz="1000" dirty="0" smtClean="0">
                <a:latin typeface="Eras Demi ITC" panose="020B0805030504020804" pitchFamily="34" charset="0"/>
              </a:rPr>
              <a:t>VELOCIDADE DE COBERTURA DE MÉDIO A LONGO PRAZO</a:t>
            </a:r>
          </a:p>
          <a:p>
            <a:r>
              <a:rPr lang="pt-BR" sz="1000" b="1" u="sng" dirty="0" smtClean="0">
                <a:latin typeface="Eras Demi ITC" panose="020B0805030504020804" pitchFamily="34" charset="0"/>
              </a:rPr>
              <a:t>OBJETIVO: Compra não recomendada</a:t>
            </a:r>
            <a:endParaRPr lang="pt-BR" sz="1000" b="1" u="sng" dirty="0">
              <a:latin typeface="Eras Demi ITC" panose="020B0805030504020804" pitchFamily="34" charset="0"/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3171825" y="564507"/>
            <a:ext cx="5212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Rentabilidade e Cobertura</a:t>
            </a:r>
            <a:endParaRPr lang="pt-BR" dirty="0"/>
          </a:p>
        </p:txBody>
      </p:sp>
      <p:sp>
        <p:nvSpPr>
          <p:cNvPr id="29" name="Elipse 28"/>
          <p:cNvSpPr/>
          <p:nvPr/>
        </p:nvSpPr>
        <p:spPr>
          <a:xfrm>
            <a:off x="4589115" y="1026172"/>
            <a:ext cx="269310" cy="269310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latin typeface="Eras Demi ITC" panose="020B0805030504020804" pitchFamily="34" charset="0"/>
              </a:rPr>
              <a:t>1</a:t>
            </a:r>
            <a:endParaRPr lang="pt-BR" sz="1400" dirty="0">
              <a:latin typeface="Eras Demi ITC" panose="020B0805030504020804" pitchFamily="34" charset="0"/>
            </a:endParaRPr>
          </a:p>
        </p:txBody>
      </p:sp>
      <p:sp>
        <p:nvSpPr>
          <p:cNvPr id="30" name="Elipse 29"/>
          <p:cNvSpPr/>
          <p:nvPr/>
        </p:nvSpPr>
        <p:spPr>
          <a:xfrm>
            <a:off x="6795783" y="2429629"/>
            <a:ext cx="269310" cy="269310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latin typeface="Eras Demi ITC" panose="020B0805030504020804" pitchFamily="34" charset="0"/>
              </a:rPr>
              <a:t>2</a:t>
            </a:r>
            <a:endParaRPr lang="pt-BR" sz="1400" dirty="0">
              <a:latin typeface="Eras Demi ITC" panose="020B0805030504020804" pitchFamily="34" charset="0"/>
            </a:endParaRPr>
          </a:p>
        </p:txBody>
      </p:sp>
      <p:sp>
        <p:nvSpPr>
          <p:cNvPr id="31" name="Elipse 30"/>
          <p:cNvSpPr/>
          <p:nvPr/>
        </p:nvSpPr>
        <p:spPr>
          <a:xfrm>
            <a:off x="5712566" y="5989875"/>
            <a:ext cx="269310" cy="269310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latin typeface="Eras Demi ITC" panose="020B0805030504020804" pitchFamily="34" charset="0"/>
              </a:rPr>
              <a:t>3</a:t>
            </a:r>
            <a:endParaRPr lang="pt-BR" sz="1400" dirty="0">
              <a:latin typeface="Eras Demi ITC" panose="020B0805030504020804" pitchFamily="34" charset="0"/>
            </a:endParaRPr>
          </a:p>
        </p:txBody>
      </p:sp>
      <p:sp>
        <p:nvSpPr>
          <p:cNvPr id="32" name="Elipse 31"/>
          <p:cNvSpPr/>
          <p:nvPr/>
        </p:nvSpPr>
        <p:spPr>
          <a:xfrm>
            <a:off x="6803941" y="4368602"/>
            <a:ext cx="269310" cy="269310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latin typeface="Eras Demi ITC" panose="020B0805030504020804" pitchFamily="34" charset="0"/>
              </a:rPr>
              <a:t>4</a:t>
            </a:r>
            <a:endParaRPr lang="pt-BR" sz="1400" dirty="0">
              <a:latin typeface="Eras Demi ITC" panose="020B0805030504020804" pitchFamily="34" charset="0"/>
            </a:endParaRPr>
          </a:p>
        </p:txBody>
      </p:sp>
      <p:graphicFrame>
        <p:nvGraphicFramePr>
          <p:cNvPr id="33" name="Tabela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1832908"/>
              </p:ext>
            </p:extLst>
          </p:nvPr>
        </p:nvGraphicFramePr>
        <p:xfrm>
          <a:off x="7581104" y="1398588"/>
          <a:ext cx="2542905" cy="1600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08581"/>
                <a:gridCol w="508581"/>
                <a:gridCol w="508581"/>
                <a:gridCol w="508581"/>
                <a:gridCol w="508581"/>
              </a:tblGrid>
              <a:tr h="228019"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28019"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28019"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28019"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16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0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72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13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228019"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13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20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0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67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228019">
                <a:tc>
                  <a:txBody>
                    <a:bodyPr/>
                    <a:lstStyle/>
                    <a:p>
                      <a:pPr algn="ctr"/>
                      <a:endParaRPr lang="pt-BR" sz="900" b="1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8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36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32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24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228019">
                <a:tc>
                  <a:txBody>
                    <a:bodyPr/>
                    <a:lstStyle/>
                    <a:p>
                      <a:pPr algn="ctr"/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46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0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54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 smtClean="0">
                          <a:latin typeface="Eras Medium ITC" panose="020B0602030504020804" pitchFamily="34" charset="0"/>
                        </a:rPr>
                        <a:t>0%</a:t>
                      </a:r>
                      <a:endParaRPr lang="pt-BR" sz="900" b="1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4" name="Imagem 33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37" t="-1" r="14553" b="1349"/>
          <a:stretch/>
        </p:blipFill>
        <p:spPr>
          <a:xfrm>
            <a:off x="7722238" y="2081348"/>
            <a:ext cx="281866" cy="234863"/>
          </a:xfrm>
          <a:prstGeom prst="rect">
            <a:avLst/>
          </a:prstGeom>
        </p:spPr>
      </p:pic>
      <p:pic>
        <p:nvPicPr>
          <p:cNvPr id="36" name="Imagem 35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2668" y="2352723"/>
            <a:ext cx="161005" cy="161005"/>
          </a:xfrm>
          <a:prstGeom prst="rect">
            <a:avLst/>
          </a:prstGeom>
        </p:spPr>
      </p:pic>
      <p:pic>
        <p:nvPicPr>
          <p:cNvPr id="37" name="Imagem 36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2729" y="2564799"/>
            <a:ext cx="173470" cy="175835"/>
          </a:xfrm>
          <a:prstGeom prst="rect">
            <a:avLst/>
          </a:prstGeom>
        </p:spPr>
      </p:pic>
      <p:pic>
        <p:nvPicPr>
          <p:cNvPr id="38" name="Imagem 37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06" r="-4824" b="18665"/>
          <a:stretch/>
        </p:blipFill>
        <p:spPr>
          <a:xfrm>
            <a:off x="7705184" y="2779947"/>
            <a:ext cx="328560" cy="208217"/>
          </a:xfrm>
          <a:prstGeom prst="rect">
            <a:avLst/>
          </a:prstGeom>
        </p:spPr>
      </p:pic>
      <p:sp>
        <p:nvSpPr>
          <p:cNvPr id="39" name="Elipse 38"/>
          <p:cNvSpPr/>
          <p:nvPr/>
        </p:nvSpPr>
        <p:spPr>
          <a:xfrm>
            <a:off x="8232200" y="1838995"/>
            <a:ext cx="215448" cy="215448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latin typeface="Eras Demi ITC" panose="020B0805030504020804" pitchFamily="34" charset="0"/>
              </a:rPr>
              <a:t>1</a:t>
            </a:r>
            <a:endParaRPr lang="pt-BR" sz="1400" dirty="0">
              <a:latin typeface="Eras Demi ITC" panose="020B0805030504020804" pitchFamily="34" charset="0"/>
            </a:endParaRPr>
          </a:p>
        </p:txBody>
      </p:sp>
      <p:sp>
        <p:nvSpPr>
          <p:cNvPr id="40" name="Elipse 39"/>
          <p:cNvSpPr/>
          <p:nvPr/>
        </p:nvSpPr>
        <p:spPr>
          <a:xfrm>
            <a:off x="8747854" y="1838995"/>
            <a:ext cx="215448" cy="215448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latin typeface="Eras Demi ITC" panose="020B0805030504020804" pitchFamily="34" charset="0"/>
              </a:rPr>
              <a:t>2</a:t>
            </a:r>
          </a:p>
        </p:txBody>
      </p:sp>
      <p:sp>
        <p:nvSpPr>
          <p:cNvPr id="41" name="Elipse 40"/>
          <p:cNvSpPr/>
          <p:nvPr/>
        </p:nvSpPr>
        <p:spPr>
          <a:xfrm>
            <a:off x="9244720" y="1843803"/>
            <a:ext cx="215448" cy="215448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latin typeface="Eras Demi ITC" panose="020B0805030504020804" pitchFamily="34" charset="0"/>
              </a:rPr>
              <a:t>3</a:t>
            </a:r>
            <a:endParaRPr lang="pt-BR" sz="1400" dirty="0">
              <a:latin typeface="Eras Demi ITC" panose="020B0805030504020804" pitchFamily="34" charset="0"/>
            </a:endParaRPr>
          </a:p>
        </p:txBody>
      </p:sp>
      <p:sp>
        <p:nvSpPr>
          <p:cNvPr id="42" name="Elipse 41"/>
          <p:cNvSpPr/>
          <p:nvPr/>
        </p:nvSpPr>
        <p:spPr>
          <a:xfrm>
            <a:off x="9760375" y="1843803"/>
            <a:ext cx="215448" cy="215448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latin typeface="Eras Demi ITC" panose="020B0805030504020804" pitchFamily="34" charset="0"/>
              </a:rPr>
              <a:t>4</a:t>
            </a:r>
            <a:endParaRPr lang="pt-BR" sz="1400" dirty="0">
              <a:latin typeface="Eras Demi ITC" panose="020B0805030504020804" pitchFamily="34" charset="0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7605875" y="1405461"/>
            <a:ext cx="25202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dirty="0" smtClean="0">
                <a:latin typeface="Eras Demi ITC" panose="020B0805030504020804" pitchFamily="34" charset="0"/>
              </a:rPr>
              <a:t>Share dos quadrantes por emissora</a:t>
            </a:r>
            <a:endParaRPr lang="pt-BR" sz="1100" dirty="0">
              <a:latin typeface="Eras Demi ITC" panose="020B0805030504020804" pitchFamily="34" charset="0"/>
            </a:endParaRPr>
          </a:p>
        </p:txBody>
      </p:sp>
      <p:sp>
        <p:nvSpPr>
          <p:cNvPr id="44" name="CaixaDeTexto 43"/>
          <p:cNvSpPr txBox="1"/>
          <p:nvPr/>
        </p:nvSpPr>
        <p:spPr>
          <a:xfrm>
            <a:off x="7555771" y="3309910"/>
            <a:ext cx="274062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200" dirty="0" smtClean="0">
                <a:latin typeface="Eras Demi ITC" panose="020B0805030504020804" pitchFamily="34" charset="0"/>
              </a:rPr>
              <a:t>Considerando os dois melhores quadrantes (3 e 4) a Band é a emissora que apresenta a maior concentração de sua programação, com 85% contra 67% da Record, 56% do Sbt e 54% da Rede TV!, revelando a rentabilidade e a capacidade de cobertura da Band ao longo do tempo.</a:t>
            </a:r>
          </a:p>
        </p:txBody>
      </p:sp>
      <p:sp>
        <p:nvSpPr>
          <p:cNvPr id="45" name="Seta para a direita 44"/>
          <p:cNvSpPr/>
          <p:nvPr/>
        </p:nvSpPr>
        <p:spPr>
          <a:xfrm>
            <a:off x="8004104" y="2977706"/>
            <a:ext cx="2342395" cy="344730"/>
          </a:xfrm>
          <a:prstGeom prst="rightArrow">
            <a:avLst/>
          </a:prstGeom>
          <a:gradFill flip="none" rotWithShape="1">
            <a:gsLst>
              <a:gs pos="0">
                <a:schemeClr val="accent2"/>
              </a:gs>
              <a:gs pos="45000">
                <a:srgbClr val="92D050">
                  <a:alpha val="58000"/>
                </a:srgbClr>
              </a:gs>
              <a:gs pos="100000">
                <a:srgbClr val="00642D"/>
              </a:gs>
            </a:gsLst>
            <a:lin ang="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CaixaDeTexto 45"/>
          <p:cNvSpPr txBox="1"/>
          <p:nvPr/>
        </p:nvSpPr>
        <p:spPr>
          <a:xfrm>
            <a:off x="7983640" y="3014434"/>
            <a:ext cx="4267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pior</a:t>
            </a:r>
            <a:endParaRPr lang="pt-BR" sz="1000" dirty="0">
              <a:solidFill>
                <a:schemeClr val="bg1"/>
              </a:solidFill>
              <a:latin typeface="Eras Demi ITC" panose="020B0805030504020804" pitchFamily="34" charset="0"/>
            </a:endParaRPr>
          </a:p>
        </p:txBody>
      </p:sp>
      <p:sp>
        <p:nvSpPr>
          <p:cNvPr id="47" name="CaixaDeTexto 46"/>
          <p:cNvSpPr txBox="1"/>
          <p:nvPr/>
        </p:nvSpPr>
        <p:spPr>
          <a:xfrm>
            <a:off x="9592945" y="3010528"/>
            <a:ext cx="6142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melhor</a:t>
            </a:r>
            <a:endParaRPr lang="pt-BR" sz="1000" dirty="0">
              <a:solidFill>
                <a:schemeClr val="bg1"/>
              </a:solidFill>
              <a:latin typeface="Eras Demi ITC" panose="020B08050305040208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3750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565505" y="3181261"/>
            <a:ext cx="75576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Comparativo de Investimentos Unilever na Band: 2014 Vs 2013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09715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296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8" name="Slide do think-cell" r:id="rId41" imgW="270" imgH="270" progId="TCLayout.ActiveDocument.1">
                  <p:embed/>
                </p:oleObj>
              </mc:Choice>
              <mc:Fallback>
                <p:oleObj name="Slide do think-cell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>
              <a:latin typeface="Eras Medium ITC"/>
              <a:sym typeface="Eras Medium ITC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432517" y="564507"/>
            <a:ext cx="49513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Investimento Real na Band TV</a:t>
            </a:r>
            <a:endParaRPr lang="pt-BR" dirty="0"/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83731263"/>
              </p:ext>
            </p:extLst>
          </p:nvPr>
        </p:nvGraphicFramePr>
        <p:xfrm>
          <a:off x="38101" y="2933700"/>
          <a:ext cx="5238645" cy="28954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9" name="Gráfico" r:id="rId43" imgW="5238645" imgH="2895480" progId="MSGraph.Chart.8">
                  <p:embed followColorScheme="full"/>
                </p:oleObj>
              </mc:Choice>
              <mc:Fallback>
                <p:oleObj name="Gráfico" r:id="rId43" imgW="5238645" imgH="28954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38101" y="2933700"/>
                        <a:ext cx="5238645" cy="28954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" name="Conector reto 20"/>
          <p:cNvCxnSpPr/>
          <p:nvPr>
            <p:custDataLst>
              <p:tags r:id="rId5"/>
            </p:custDataLst>
          </p:nvPr>
        </p:nvCxnSpPr>
        <p:spPr bwMode="auto">
          <a:xfrm>
            <a:off x="4643438" y="2700338"/>
            <a:ext cx="0" cy="9874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>
            <p:custDataLst>
              <p:tags r:id="rId6"/>
            </p:custDataLst>
          </p:nvPr>
        </p:nvCxnSpPr>
        <p:spPr bwMode="auto">
          <a:xfrm flipV="1">
            <a:off x="4043363" y="2700338"/>
            <a:ext cx="0" cy="349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>
            <p:custDataLst>
              <p:tags r:id="rId7"/>
            </p:custDataLst>
          </p:nvPr>
        </p:nvCxnSpPr>
        <p:spPr bwMode="auto">
          <a:xfrm>
            <a:off x="2971800" y="4713288"/>
            <a:ext cx="0" cy="4222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>
            <p:custDataLst>
              <p:tags r:id="rId8"/>
            </p:custDataLst>
          </p:nvPr>
        </p:nvCxnSpPr>
        <p:spPr bwMode="auto">
          <a:xfrm>
            <a:off x="2376488" y="4713288"/>
            <a:ext cx="59531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>
            <p:custDataLst>
              <p:tags r:id="rId9"/>
            </p:custDataLst>
          </p:nvPr>
        </p:nvCxnSpPr>
        <p:spPr bwMode="auto">
          <a:xfrm flipV="1">
            <a:off x="2376488" y="4713288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>
            <p:custDataLst>
              <p:tags r:id="rId10"/>
            </p:custDataLst>
          </p:nvPr>
        </p:nvCxnSpPr>
        <p:spPr bwMode="auto">
          <a:xfrm>
            <a:off x="4043363" y="2700338"/>
            <a:ext cx="6000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>
            <p:custDataLst>
              <p:tags r:id="rId11"/>
            </p:custDataLst>
          </p:nvPr>
        </p:nvCxnSpPr>
        <p:spPr bwMode="auto">
          <a:xfrm>
            <a:off x="700088" y="3503613"/>
            <a:ext cx="6000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>
            <p:custDataLst>
              <p:tags r:id="rId12"/>
            </p:custDataLst>
          </p:nvPr>
        </p:nvCxnSpPr>
        <p:spPr bwMode="auto">
          <a:xfrm flipV="1">
            <a:off x="700088" y="3503613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>
            <p:custDataLst>
              <p:tags r:id="rId13"/>
            </p:custDataLst>
          </p:nvPr>
        </p:nvCxnSpPr>
        <p:spPr bwMode="auto">
          <a:xfrm>
            <a:off x="1300163" y="3503613"/>
            <a:ext cx="0" cy="536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Espaço Reservado para Texto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62000" y="5886450"/>
            <a:ext cx="4762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C826C7-3AD2-4172-910F-DD05689CCE68}" type="datetime'''R''''''''''''''''''''''''''''''''ED''''''E''''''''''''''''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REDE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3" name="Espaço Reservado para Texto 2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365375" y="5886450"/>
            <a:ext cx="612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D9CDD8-719E-4049-B9AF-623974A2AAAE}" type="datetime'''''P''''R''''''''''A''''Ç''''''A''''''''''''''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PRAÇA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85" name="Espaço Reservado para Texto 3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36813" y="4595813"/>
            <a:ext cx="4746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D9E686FE-36FB-446D-BF4B-E9E6B5DE9299}" type="datetime'''''-''''''''''4''''''''''''3''''%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43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9" name="Espaço Reservado para Texto 34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886200" y="2428875"/>
            <a:ext cx="914400" cy="544513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944A136-7DC7-4CCF-9D3F-F563FBDC9DC2}" type="datetime'''''''''''''''-''2''''''''''''''6''''''''''''%'">
              <a:rPr lang="en-US" sz="140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26%</a:t>
            </a:fld>
            <a:r>
              <a:rPr lang="en-US" sz="1400" dirty="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t/>
            </a:r>
            <a:br>
              <a:rPr lang="en-US" sz="1400" dirty="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</a:br>
            <a:r>
              <a:rPr lang="en-US" sz="1400" dirty="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t>(</a:t>
            </a:r>
            <a:fld id="{E0BA5DFC-7FED-451A-B4EE-8BFC3F98F8BC}" type="datetime'''''-R''''$'''' ''''''''''4'''''''''',''''''''''''4'">
              <a:rPr lang="en-US" sz="140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R$ 4,4</a:t>
            </a:fld>
            <a:r>
              <a:rPr lang="en-US" sz="1400" dirty="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t>)</a:t>
            </a:r>
            <a:endParaRPr lang="pt-BR" sz="1400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74" name="Espaço Reservado para Texto 2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046538" y="5886450"/>
            <a:ext cx="5953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29CF07-B17A-479C-9996-02B92120A146}" type="datetime'''''T''''''''''''''O''''''''''''T''A''''''''''''L''''''''''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82" name="Espaço Reservado para Texto 3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63588" y="3386138"/>
            <a:ext cx="4746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65AE30-E87F-4C92-AD2A-D12DDECD6F8E}" type="datetime'''''''-''''21''''''''''''''''''''''''''''''''''%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21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6" name="Retângulo 5"/>
          <p:cNvSpPr/>
          <p:nvPr>
            <p:custDataLst>
              <p:tags r:id="rId20"/>
            </p:custDataLst>
          </p:nvPr>
        </p:nvSpPr>
        <p:spPr bwMode="auto">
          <a:xfrm>
            <a:off x="5411788" y="6346825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>
            <p:custDataLst>
              <p:tags r:id="rId21"/>
            </p:custDataLst>
          </p:nvPr>
        </p:nvSpPr>
        <p:spPr bwMode="auto">
          <a:xfrm>
            <a:off x="4576763" y="6346825"/>
            <a:ext cx="250825" cy="187325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Espaço Reservado para Texto 9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13413" y="6342063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C32F3D-45C2-48C0-94B6-E884139D8A4C}" type="datetime'2''''''''''''''''''''''''''''0''''''''''''''1''''''''''4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2014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7" name="Espaço Reservado para Texto 8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878388" y="6342063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9E1463-EA08-4F18-902D-D2A2B4F67D8D}" type="datetime'''''''''''''''''''''''''''''''''''2''0''''''''''''13''''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2013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graphicFrame>
        <p:nvGraphicFramePr>
          <p:cNvPr id="97" name="Objeto 96"/>
          <p:cNvGraphicFramePr>
            <a:graphicFrameLocks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864024674"/>
              </p:ext>
            </p:extLst>
          </p:nvPr>
        </p:nvGraphicFramePr>
        <p:xfrm>
          <a:off x="5372100" y="2933700"/>
          <a:ext cx="5248366" cy="28954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0" name="Gráfico" r:id="rId45" imgW="5248366" imgH="2895480" progId="MSGraph.Chart.8">
                  <p:embed followColorScheme="full"/>
                </p:oleObj>
              </mc:Choice>
              <mc:Fallback>
                <p:oleObj name="Gráfico" r:id="rId45" imgW="5248366" imgH="28954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5372100" y="2933700"/>
                        <a:ext cx="5248366" cy="28954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8" name="Conector reto 97"/>
          <p:cNvCxnSpPr/>
          <p:nvPr>
            <p:custDataLst>
              <p:tags r:id="rId25"/>
            </p:custDataLst>
          </p:nvPr>
        </p:nvCxnSpPr>
        <p:spPr bwMode="auto">
          <a:xfrm>
            <a:off x="9977438" y="2700338"/>
            <a:ext cx="0" cy="9683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Conector reto 98"/>
          <p:cNvCxnSpPr/>
          <p:nvPr>
            <p:custDataLst>
              <p:tags r:id="rId26"/>
            </p:custDataLst>
          </p:nvPr>
        </p:nvCxnSpPr>
        <p:spPr bwMode="auto">
          <a:xfrm flipV="1">
            <a:off x="9377363" y="2700338"/>
            <a:ext cx="0" cy="34925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Conector reto 99"/>
          <p:cNvCxnSpPr/>
          <p:nvPr>
            <p:custDataLst>
              <p:tags r:id="rId27"/>
            </p:custDataLst>
          </p:nvPr>
        </p:nvCxnSpPr>
        <p:spPr bwMode="auto">
          <a:xfrm>
            <a:off x="8305800" y="4732338"/>
            <a:ext cx="0" cy="4032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Conector reto 100"/>
          <p:cNvCxnSpPr/>
          <p:nvPr>
            <p:custDataLst>
              <p:tags r:id="rId28"/>
            </p:custDataLst>
          </p:nvPr>
        </p:nvCxnSpPr>
        <p:spPr bwMode="auto">
          <a:xfrm>
            <a:off x="7710488" y="4732338"/>
            <a:ext cx="59531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Conector reto 101"/>
          <p:cNvCxnSpPr/>
          <p:nvPr>
            <p:custDataLst>
              <p:tags r:id="rId29"/>
            </p:custDataLst>
          </p:nvPr>
        </p:nvCxnSpPr>
        <p:spPr bwMode="auto">
          <a:xfrm flipV="1">
            <a:off x="7710488" y="4732338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reto 102"/>
          <p:cNvCxnSpPr/>
          <p:nvPr>
            <p:custDataLst>
              <p:tags r:id="rId30"/>
            </p:custDataLst>
          </p:nvPr>
        </p:nvCxnSpPr>
        <p:spPr bwMode="auto">
          <a:xfrm>
            <a:off x="9377363" y="2700338"/>
            <a:ext cx="6000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reto 103"/>
          <p:cNvCxnSpPr/>
          <p:nvPr>
            <p:custDataLst>
              <p:tags r:id="rId31"/>
            </p:custDataLst>
          </p:nvPr>
        </p:nvCxnSpPr>
        <p:spPr bwMode="auto">
          <a:xfrm>
            <a:off x="6034088" y="3484563"/>
            <a:ext cx="6000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Conector reto 104"/>
          <p:cNvCxnSpPr/>
          <p:nvPr>
            <p:custDataLst>
              <p:tags r:id="rId32"/>
            </p:custDataLst>
          </p:nvPr>
        </p:nvCxnSpPr>
        <p:spPr bwMode="auto">
          <a:xfrm flipV="1">
            <a:off x="6034088" y="3484563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Conector reto 105"/>
          <p:cNvCxnSpPr/>
          <p:nvPr>
            <p:custDataLst>
              <p:tags r:id="rId33"/>
            </p:custDataLst>
          </p:nvPr>
        </p:nvCxnSpPr>
        <p:spPr bwMode="auto">
          <a:xfrm>
            <a:off x="6634163" y="3484563"/>
            <a:ext cx="0" cy="536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" name="Espaço Reservado para Texto 3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096000" y="5886450"/>
            <a:ext cx="4762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501739-373F-4EA6-9D9F-2F2666C0E0E5}" type="datetime'''''''''''''R''''''''''E''''''''''''''D''E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REDE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10" name="Espaço Reservado para Texto 23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699375" y="5886450"/>
            <a:ext cx="612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FB1FFF-FABA-4129-A486-A30740EB5BB3}" type="datetime'''''P''''''''''''R''''''''''''''''''''''AÇA''''''''''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PRAÇA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11" name="Espaço Reservado para Texto 3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770813" y="4614863"/>
            <a:ext cx="4746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3191242-D58E-4D78-A009-C55F90A1B98C}" type="datetime'''''''''''''''''''''''''''''''-4''''''''''''1%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41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12" name="Espaço Reservado para Texto 34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220200" y="2428875"/>
            <a:ext cx="914400" cy="544513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CCEE7F7-04B4-4C10-9539-809CE71EC3F2}" type="datetime'''''''''''''''''''-''2''''6''''''''''''''''''%'''''''''''''">
              <a:rPr lang="en-US" sz="140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26%</a:t>
            </a:fld>
            <a:r>
              <a:rPr lang="en-US" sz="1400" dirty="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t/>
            </a:r>
            <a:br>
              <a:rPr lang="en-US" sz="1400" dirty="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</a:br>
            <a:r>
              <a:rPr lang="en-US" sz="1400" dirty="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t>(</a:t>
            </a:r>
            <a:fld id="{61DCFE79-B2F9-44B6-8874-E7C86B1E5F46}" type="datetime'''-R''''''''''''''''''''$'' ''''''''''''''''''''4,''''''''1'">
              <a:rPr lang="en-US" sz="140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R$ 4,1</a:t>
            </a:fld>
            <a:r>
              <a:rPr lang="en-US" sz="1400" dirty="0" smtClean="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t>)</a:t>
            </a:r>
            <a:endParaRPr lang="pt-BR" sz="1400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13" name="Espaço Reservado para Texto 24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380538" y="5886450"/>
            <a:ext cx="5953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9F8DEE-798B-4D28-9A8E-E09847925608}" type="datetime'''''''''''T''''''''''''''''''''''''''O''''''''''''''T''A''''L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TOTAL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14" name="Espaço Reservado para Texto 3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097588" y="3367088"/>
            <a:ext cx="4746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CDE4BC2-C6FD-44D5-B046-004335B0A621}" type="datetime'''''''''''''''-''''2''''''''''''''''''''''''''''''''1%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21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1250950" y="2209800"/>
            <a:ext cx="2901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u="sng" dirty="0">
                <a:latin typeface="Eras Demi ITC" panose="020B0805030504020804" pitchFamily="34" charset="0"/>
              </a:rPr>
              <a:t>(</a:t>
            </a:r>
            <a:r>
              <a:rPr lang="pt-BR" sz="1800" u="sng" dirty="0" smtClean="0">
                <a:latin typeface="Eras Demi ITC" panose="020B0805030504020804" pitchFamily="34" charset="0"/>
              </a:rPr>
              <a:t>Faturado R$ milhões)</a:t>
            </a:r>
            <a:endParaRPr lang="pt-BR" sz="1800" u="sng" dirty="0">
              <a:latin typeface="Eras Demi ITC" panose="020B0805030504020804" pitchFamily="34" charset="0"/>
            </a:endParaRPr>
          </a:p>
        </p:txBody>
      </p:sp>
      <p:sp>
        <p:nvSpPr>
          <p:cNvPr id="119" name="CaixaDeTexto 118"/>
          <p:cNvSpPr txBox="1"/>
          <p:nvPr/>
        </p:nvSpPr>
        <p:spPr>
          <a:xfrm>
            <a:off x="6588125" y="2222500"/>
            <a:ext cx="2901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u="sng" dirty="0" smtClean="0">
                <a:latin typeface="Eras Demi ITC" panose="020B0805030504020804" pitchFamily="34" charset="0"/>
              </a:rPr>
              <a:t>(Exibido R$ milhões)</a:t>
            </a:r>
            <a:endParaRPr lang="pt-BR" sz="1800" u="sng" dirty="0">
              <a:latin typeface="Eras Demi ITC" panose="020B0805030504020804" pitchFamily="34" charset="0"/>
            </a:endParaRPr>
          </a:p>
        </p:txBody>
      </p:sp>
      <p:sp>
        <p:nvSpPr>
          <p:cNvPr id="120" name="CaixaDeTexto 119"/>
          <p:cNvSpPr txBox="1"/>
          <p:nvPr/>
        </p:nvSpPr>
        <p:spPr>
          <a:xfrm>
            <a:off x="193040" y="1091247"/>
            <a:ext cx="103568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900" dirty="0" smtClean="0"/>
              <a:t>O investimento da Unilever com a Band TV reduziu 26% (Faturado / Exibido) quando comparamos 2014 vs 2013.</a:t>
            </a:r>
          </a:p>
        </p:txBody>
      </p:sp>
      <p:sp>
        <p:nvSpPr>
          <p:cNvPr id="121" name="CaixaDeTexto 120"/>
          <p:cNvSpPr txBox="1"/>
          <p:nvPr/>
        </p:nvSpPr>
        <p:spPr>
          <a:xfrm>
            <a:off x="5994082" y="6921298"/>
            <a:ext cx="40233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1000" dirty="0"/>
              <a:t>Fonte: </a:t>
            </a:r>
            <a:r>
              <a:rPr lang="pt-BR" sz="1000" dirty="0" smtClean="0"/>
              <a:t>Relatório Gerencial – Sistema OPEC.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13995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565505" y="3181261"/>
            <a:ext cx="75576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de Investimentos Unilever base Ibope Monitor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7652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1804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6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489982" y="564507"/>
            <a:ext cx="5893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Análise base Ibope Monitor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884" y="2071020"/>
            <a:ext cx="4829824" cy="3420810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5635494" y="1915318"/>
            <a:ext cx="4321305" cy="3611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 smtClean="0">
                <a:latin typeface="Eras Demi ITC" panose="020B0805030504020804" pitchFamily="34" charset="0"/>
              </a:rPr>
              <a:t>Para compararmos o total investido com a Band Vs as demais emissoras, recorremos ao Ibope Monitor, onde foram aplicados os descontos conforme tabela ao lado, considerando ainda valores líquidos.</a:t>
            </a:r>
          </a:p>
          <a:p>
            <a:pPr>
              <a:lnSpc>
                <a:spcPct val="150000"/>
              </a:lnSpc>
            </a:pPr>
            <a:endParaRPr lang="pt-BR" sz="1400" dirty="0">
              <a:latin typeface="Eras Demi ITC" panose="020B08050305040208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400" dirty="0" smtClean="0">
                <a:latin typeface="Eras Demi ITC" panose="020B0805030504020804" pitchFamily="34" charset="0"/>
              </a:rPr>
              <a:t>O desconto estimado para cada emissora está baseado no perfil de compra da Unilever: grande número de patrocínios aliado a uma compra que contempla todos os </a:t>
            </a:r>
            <a:r>
              <a:rPr lang="pt-BR" sz="1400" dirty="0" err="1" smtClean="0">
                <a:latin typeface="Eras Demi ITC" panose="020B0805030504020804" pitchFamily="34" charset="0"/>
              </a:rPr>
              <a:t>dayparts</a:t>
            </a:r>
            <a:r>
              <a:rPr lang="pt-BR" sz="1400" dirty="0" smtClean="0">
                <a:latin typeface="Eras Demi ITC" panose="020B0805030504020804" pitchFamily="34" charset="0"/>
              </a:rPr>
              <a:t>, ou seja, sem uma participação excessiva no prime time</a:t>
            </a:r>
            <a:endParaRPr lang="pt-BR" sz="1400" dirty="0">
              <a:latin typeface="Eras Demi ITC" panose="020B08050305040208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803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88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8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941342" y="564507"/>
            <a:ext cx="64425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e Investimento nas Principais Emissoras, base Ibope Monitor</a:t>
            </a:r>
          </a:p>
        </p:txBody>
      </p:sp>
      <p:graphicFrame>
        <p:nvGraphicFramePr>
          <p:cNvPr id="32" name="Gráfico 31"/>
          <p:cNvGraphicFramePr/>
          <p:nvPr>
            <p:extLst>
              <p:ext uri="{D42A27DB-BD31-4B8C-83A1-F6EECF244321}">
                <p14:modId xmlns:p14="http://schemas.microsoft.com/office/powerpoint/2010/main" val="1638672453"/>
              </p:ext>
            </p:extLst>
          </p:nvPr>
        </p:nvGraphicFramePr>
        <p:xfrm>
          <a:off x="2132648" y="2711885"/>
          <a:ext cx="6424930" cy="3894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3" name="CaixaDeTexto 32"/>
          <p:cNvSpPr txBox="1"/>
          <p:nvPr/>
        </p:nvSpPr>
        <p:spPr>
          <a:xfrm>
            <a:off x="211454" y="1485639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A Unilever investiu em 2014 cerca de R$ 394,0 milhões nas principais emissoras de TV Aberta e a Band TV foi a quarta emissora em investimento, apresentando 4% de participação.</a:t>
            </a:r>
            <a:endParaRPr lang="pt-BR" sz="1800" dirty="0"/>
          </a:p>
        </p:txBody>
      </p:sp>
      <p:sp>
        <p:nvSpPr>
          <p:cNvPr id="34" name="CaixaDeTexto 33"/>
          <p:cNvSpPr txBox="1"/>
          <p:nvPr/>
        </p:nvSpPr>
        <p:spPr>
          <a:xfrm>
            <a:off x="211454" y="2350118"/>
            <a:ext cx="2616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latin typeface="Eras Demi ITC" panose="020B0805030504020804" pitchFamily="34" charset="0"/>
              </a:rPr>
              <a:t>2014 (Janeiro a Dezembro)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sp>
        <p:nvSpPr>
          <p:cNvPr id="35" name="CaixaDeTexto 34"/>
          <p:cNvSpPr txBox="1"/>
          <p:nvPr/>
        </p:nvSpPr>
        <p:spPr>
          <a:xfrm>
            <a:off x="5949730" y="6809960"/>
            <a:ext cx="460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2014 - Valores líquidos com descontos estimados:</a:t>
            </a:r>
          </a:p>
          <a:p>
            <a:r>
              <a:rPr lang="pt-BR" sz="900" dirty="0" smtClean="0"/>
              <a:t>Band TV: 96,5%, Globo: 25%, Record e SBT: 92% e Rede TV!: 97%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710374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072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2" name="Slide do think-cell" r:id="rId39" imgW="270" imgH="270" progId="TCLayout.ActiveDocument.1">
                  <p:embed/>
                </p:oleObj>
              </mc:Choice>
              <mc:Fallback>
                <p:oleObj name="Slide do think-cell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>
              <a:latin typeface="Calibri"/>
              <a:sym typeface="Calibri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391508" y="564507"/>
            <a:ext cx="59923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Análise de Investimento nas Principais Emissoras, base Ibope Monitor</a:t>
            </a:r>
            <a:endParaRPr lang="pt-BR" dirty="0"/>
          </a:p>
        </p:txBody>
      </p:sp>
      <p:graphicFrame>
        <p:nvGraphicFramePr>
          <p:cNvPr id="23" name="Objeto 2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9596559"/>
              </p:ext>
            </p:extLst>
          </p:nvPr>
        </p:nvGraphicFramePr>
        <p:xfrm>
          <a:off x="647700" y="2324099"/>
          <a:ext cx="9372583" cy="38766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3" name="Gráfico" r:id="rId41" imgW="9372583" imgH="3876660" progId="MSGraph.Chart.8">
                  <p:embed followColorScheme="full"/>
                </p:oleObj>
              </mc:Choice>
              <mc:Fallback>
                <p:oleObj name="Gráfico" r:id="rId41" imgW="9372583" imgH="38766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647700" y="2324099"/>
                        <a:ext cx="9372583" cy="38766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Conector reto 26"/>
          <p:cNvCxnSpPr/>
          <p:nvPr>
            <p:custDataLst>
              <p:tags r:id="rId5"/>
            </p:custDataLst>
          </p:nvPr>
        </p:nvCxnSpPr>
        <p:spPr bwMode="auto">
          <a:xfrm>
            <a:off x="8882063" y="2236788"/>
            <a:ext cx="5429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/>
          <p:cNvCxnSpPr/>
          <p:nvPr>
            <p:custDataLst>
              <p:tags r:id="rId6"/>
            </p:custDataLst>
          </p:nvPr>
        </p:nvCxnSpPr>
        <p:spPr bwMode="auto">
          <a:xfrm>
            <a:off x="9424988" y="2236788"/>
            <a:ext cx="0" cy="4222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>
            <p:custDataLst>
              <p:tags r:id="rId7"/>
            </p:custDataLst>
          </p:nvPr>
        </p:nvCxnSpPr>
        <p:spPr bwMode="auto">
          <a:xfrm flipV="1">
            <a:off x="8882063" y="2236788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>
            <p:custDataLst>
              <p:tags r:id="rId8"/>
            </p:custDataLst>
          </p:nvPr>
        </p:nvCxnSpPr>
        <p:spPr bwMode="auto">
          <a:xfrm flipV="1">
            <a:off x="7358063" y="555148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>
            <p:custDataLst>
              <p:tags r:id="rId9"/>
            </p:custDataLst>
          </p:nvPr>
        </p:nvCxnSpPr>
        <p:spPr bwMode="auto">
          <a:xfrm>
            <a:off x="7358063" y="5551488"/>
            <a:ext cx="5429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>
            <p:custDataLst>
              <p:tags r:id="rId10"/>
            </p:custDataLst>
          </p:nvPr>
        </p:nvCxnSpPr>
        <p:spPr bwMode="auto">
          <a:xfrm>
            <a:off x="1262063" y="5446713"/>
            <a:ext cx="5429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>
            <p:custDataLst>
              <p:tags r:id="rId11"/>
            </p:custDataLst>
          </p:nvPr>
        </p:nvCxnSpPr>
        <p:spPr bwMode="auto">
          <a:xfrm flipV="1">
            <a:off x="1262063" y="5446713"/>
            <a:ext cx="0" cy="2603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/>
          <p:cNvCxnSpPr/>
          <p:nvPr>
            <p:custDataLst>
              <p:tags r:id="rId12"/>
            </p:custDataLst>
          </p:nvPr>
        </p:nvCxnSpPr>
        <p:spPr bwMode="auto">
          <a:xfrm>
            <a:off x="7900988" y="5551488"/>
            <a:ext cx="0" cy="2889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>
            <p:custDataLst>
              <p:tags r:id="rId13"/>
            </p:custDataLst>
          </p:nvPr>
        </p:nvCxnSpPr>
        <p:spPr bwMode="auto">
          <a:xfrm>
            <a:off x="3328988" y="3522663"/>
            <a:ext cx="0" cy="1746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/>
          <p:cNvCxnSpPr/>
          <p:nvPr>
            <p:custDataLst>
              <p:tags r:id="rId14"/>
            </p:custDataLst>
          </p:nvPr>
        </p:nvCxnSpPr>
        <p:spPr bwMode="auto">
          <a:xfrm>
            <a:off x="5834063" y="4999038"/>
            <a:ext cx="5429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>
            <p:custDataLst>
              <p:tags r:id="rId15"/>
            </p:custDataLst>
          </p:nvPr>
        </p:nvCxnSpPr>
        <p:spPr bwMode="auto">
          <a:xfrm flipV="1">
            <a:off x="2786063" y="3522663"/>
            <a:ext cx="0" cy="1746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16"/>
            </p:custDataLst>
          </p:nvPr>
        </p:nvCxnSpPr>
        <p:spPr bwMode="auto">
          <a:xfrm>
            <a:off x="6376988" y="4999038"/>
            <a:ext cx="0" cy="307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>
            <p:custDataLst>
              <p:tags r:id="rId17"/>
            </p:custDataLst>
          </p:nvPr>
        </p:nvCxnSpPr>
        <p:spPr bwMode="auto">
          <a:xfrm flipV="1">
            <a:off x="5834063" y="4999038"/>
            <a:ext cx="0" cy="279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>
            <p:custDataLst>
              <p:tags r:id="rId18"/>
            </p:custDataLst>
          </p:nvPr>
        </p:nvCxnSpPr>
        <p:spPr bwMode="auto">
          <a:xfrm>
            <a:off x="4852988" y="5186363"/>
            <a:ext cx="0" cy="3397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>
            <p:custDataLst>
              <p:tags r:id="rId19"/>
            </p:custDataLst>
          </p:nvPr>
        </p:nvCxnSpPr>
        <p:spPr bwMode="auto">
          <a:xfrm>
            <a:off x="1804988" y="5446713"/>
            <a:ext cx="0" cy="2889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>
            <p:custDataLst>
              <p:tags r:id="rId20"/>
            </p:custDataLst>
          </p:nvPr>
        </p:nvCxnSpPr>
        <p:spPr bwMode="auto">
          <a:xfrm>
            <a:off x="2786063" y="3522663"/>
            <a:ext cx="5429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>
            <p:custDataLst>
              <p:tags r:id="rId21"/>
            </p:custDataLst>
          </p:nvPr>
        </p:nvCxnSpPr>
        <p:spPr bwMode="auto">
          <a:xfrm flipV="1">
            <a:off x="4310063" y="5186363"/>
            <a:ext cx="0" cy="18732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Espaço Reservado para Texto 8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967413" y="6245225"/>
            <a:ext cx="2778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066774-36CF-411C-B6AB-D6B52278DC65}" type="datetime'''''''''''''''''''''''''''''''S''''''''''BT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BT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60" name="Espaço Reservado para Texto 88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932863" y="2081213"/>
            <a:ext cx="442913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1630A05-B610-4C31-BD2F-285FB1BF66EB}" type="datetime'''''''''''-''7''''''''''''''''''''''%'''''''''''''''''''''''''">
              <a:rPr lang="en-US" sz="1600" b="1"/>
              <a:pPr/>
              <a:t>-7%</a:t>
            </a:fld>
            <a:endParaRPr lang="pt-BR" sz="1600" b="1" dirty="0">
              <a:sym typeface="+mn-lt"/>
            </a:endParaRPr>
          </a:p>
        </p:txBody>
      </p:sp>
      <p:sp>
        <p:nvSpPr>
          <p:cNvPr id="89" name="Espaço Reservado para Texto 34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305300" y="5024438"/>
            <a:ext cx="552450" cy="273050"/>
          </a:xfrm>
          <a:prstGeom prst="ellipse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EB60A08-36A6-47B9-AF41-075AF8B31174}" type="datetime'''''-''3''''''''1''''''''''''''''''''''''''''''%'''''''''''''">
              <a:rPr lang="en-US" sz="1400" b="1" smtClean="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31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5" name="Espaço Reservado para Texto 3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884488" y="3386138"/>
            <a:ext cx="346075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B4BB0-1749-4572-8C68-064BB40CAACB}" type="datetime'''''''''''0''''%'''''''''''''''''''''''">
              <a:rPr lang="en-US" sz="1400" b="1" smtClean="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2" name="Espaço Reservado para Texto 3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257300" y="5310188"/>
            <a:ext cx="55245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7100B8EE-198E-4CB8-A0FA-A988A339D543}" type="datetime'''''''-''''21''''''''''''''''''''''''''''''''''%'''''''''''">
              <a:rPr lang="en-US" sz="1400" b="1" smtClean="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21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5" name="Espaço Reservado para Texto 8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283450" y="6245225"/>
            <a:ext cx="692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B88DD-AD4D-4A5D-87E8-06BAF210D1ED}" type="datetime'''RE''''D''''''''''''''''''''E'''' T''V''''''''''!''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DE TV!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3" name="Espaço Reservado para Texto 3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85863" y="6245225"/>
            <a:ext cx="6953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DE24C5-55BB-4481-B083-20A2CAA452F5}" type="datetime'''''''''''''''''''BA''''''''''''''''''N''''''''D'''' ''TV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BAND TV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4" name="Espaço Reservado para Texto 24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262438" y="6245225"/>
            <a:ext cx="6397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66BB60-8750-4290-BC67-B7B058DE4692}" type="datetime'R''''E''''''''''''C''''O''''''''R''''''''D''''''''''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RECORD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3" name="Espaço Reservado para Texto 23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774950" y="6245225"/>
            <a:ext cx="565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3B515C-7B3D-4945-8E8E-3E2947F3F10E}" type="datetime'''''''''''''''''''''''''''''G''''''L''''''O''BO''''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GLOBO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0" name="Espaço Reservado para Texto 86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353300" y="5414963"/>
            <a:ext cx="55245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7675AE-A220-46E4-8845-18092DEA9AB7}" type="datetime'''''''''''-''''49''''''''''''''''''''''''''''''''%'''''''''">
              <a:rPr lang="en-US" sz="1400" b="1" smtClean="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49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6" name="Espaço Reservado para Texto 85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872163" y="4843463"/>
            <a:ext cx="468313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709B630-D116-4861-A2A7-13F0901392AF}" type="datetime'''''''''''''''-''''''''''4''''''''''''''''''''''''''''''%'''''">
              <a:rPr lang="en-US" sz="1600" b="1" smtClean="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4%</a:t>
            </a:fld>
            <a:endParaRPr lang="pt-BR" sz="16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9" name="Espaço Reservado para Texto 87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628063" y="6245225"/>
            <a:ext cx="1052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67D201-F1B2-4CA5-9C08-D4CA60901BFC}" type="datetime'''T''''O''T''''''''A''''''''''''''''''L ''GERA''''L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 GERAL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" name="Retângulo 3"/>
          <p:cNvSpPr/>
          <p:nvPr>
            <p:custDataLst>
              <p:tags r:id="rId34"/>
            </p:custDataLst>
          </p:nvPr>
        </p:nvSpPr>
        <p:spPr bwMode="auto">
          <a:xfrm>
            <a:off x="823913" y="2549525"/>
            <a:ext cx="250825" cy="187325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>
            <p:custDataLst>
              <p:tags r:id="rId35"/>
            </p:custDataLst>
          </p:nvPr>
        </p:nvSpPr>
        <p:spPr bwMode="auto">
          <a:xfrm>
            <a:off x="1658938" y="2549525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Espaço Reservado para Texto 9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960563" y="2544763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C32F3D-45C2-48C0-94B6-E884139D8A4C}" type="datetime'2''''''''''''''''''''''''''''0''''''''''''''1''''''''''4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2014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7" name="Espaço Reservado para Texto 8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125538" y="2544763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9E1463-EA08-4F18-902D-D2A2B4F67D8D}" type="datetime'''''''''''''''''''''''''''''''''''2''0''''''''''''13''''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2013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63" name="CaixaDeTexto 62"/>
          <p:cNvSpPr txBox="1"/>
          <p:nvPr/>
        </p:nvSpPr>
        <p:spPr>
          <a:xfrm>
            <a:off x="193040" y="1463468"/>
            <a:ext cx="103568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900" dirty="0" smtClean="0"/>
              <a:t>A Unilever reduziu o budget de TV Aberta em 2014 comparado a 2013 em todas as emissoras, (exceto TV Globo) que manteve os investimentos.</a:t>
            </a:r>
          </a:p>
        </p:txBody>
      </p:sp>
      <p:sp>
        <p:nvSpPr>
          <p:cNvPr id="64" name="CaixaDeTexto 63"/>
          <p:cNvSpPr txBox="1"/>
          <p:nvPr/>
        </p:nvSpPr>
        <p:spPr>
          <a:xfrm>
            <a:off x="5949730" y="6809960"/>
            <a:ext cx="460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 2013 e 2014 - Valores líquidos com descontos estimados:</a:t>
            </a:r>
          </a:p>
          <a:p>
            <a:r>
              <a:rPr lang="pt-BR" sz="900" dirty="0" smtClean="0"/>
              <a:t>Band TV: 96,5%, Globo: 25%, Record e SBT: 92% e Rede TV!: 97%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281451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565505" y="2904262"/>
            <a:ext cx="75576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de audiência das emissoras base Ibope MW em</a:t>
            </a:r>
          </a:p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Domicílios e MM 18+, PNT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2432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112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6" name="Slide do think-cell" r:id="rId114" imgW="270" imgH="270" progId="TCLayout.ActiveDocument.1">
                  <p:embed/>
                </p:oleObj>
              </mc:Choice>
              <mc:Fallback>
                <p:oleObj name="Slide do think-cell" r:id="rId1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200" b="1">
              <a:latin typeface="Eras Medium ITC"/>
              <a:sym typeface="Eras Medium ITC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276600" y="564507"/>
            <a:ext cx="51073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Principais Emissoras de TV Aberta </a:t>
            </a:r>
          </a:p>
          <a:p>
            <a:pPr algn="r"/>
            <a:r>
              <a:rPr lang="pt-BR" dirty="0" smtClean="0"/>
              <a:t>Audiência Domiciliar (%) - PNT</a:t>
            </a:r>
            <a:endParaRPr lang="pt-BR" dirty="0"/>
          </a:p>
        </p:txBody>
      </p:sp>
      <p:graphicFrame>
        <p:nvGraphicFramePr>
          <p:cNvPr id="24" name="Objeto 2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23313857"/>
              </p:ext>
            </p:extLst>
          </p:nvPr>
        </p:nvGraphicFramePr>
        <p:xfrm>
          <a:off x="152400" y="1714499"/>
          <a:ext cx="3390807" cy="2200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7" name="Gráfico" r:id="rId116" imgW="3390807" imgH="2200230" progId="MSGraph.Chart.8">
                  <p:embed followColorScheme="full"/>
                </p:oleObj>
              </mc:Choice>
              <mc:Fallback>
                <p:oleObj name="Gráfico" r:id="rId116" imgW="3390807" imgH="22002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7"/>
                      <a:stretch>
                        <a:fillRect/>
                      </a:stretch>
                    </p:blipFill>
                    <p:spPr>
                      <a:xfrm>
                        <a:off x="152400" y="1714499"/>
                        <a:ext cx="3390807" cy="2200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Conector reto 30"/>
          <p:cNvCxnSpPr/>
          <p:nvPr>
            <p:custDataLst>
              <p:tags r:id="rId5"/>
            </p:custDataLst>
          </p:nvPr>
        </p:nvCxnSpPr>
        <p:spPr bwMode="auto">
          <a:xfrm flipV="1">
            <a:off x="504825" y="2684464"/>
            <a:ext cx="0" cy="2127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/>
          <p:cNvCxnSpPr/>
          <p:nvPr>
            <p:custDataLst>
              <p:tags r:id="rId6"/>
            </p:custDataLst>
          </p:nvPr>
        </p:nvCxnSpPr>
        <p:spPr bwMode="auto">
          <a:xfrm>
            <a:off x="504825" y="268446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/>
          <p:cNvCxnSpPr/>
          <p:nvPr>
            <p:custDataLst>
              <p:tags r:id="rId7"/>
            </p:custDataLst>
          </p:nvPr>
        </p:nvCxnSpPr>
        <p:spPr bwMode="auto">
          <a:xfrm>
            <a:off x="790575" y="26844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to 33"/>
          <p:cNvCxnSpPr/>
          <p:nvPr>
            <p:custDataLst>
              <p:tags r:id="rId8"/>
            </p:custDataLst>
          </p:nvPr>
        </p:nvCxnSpPr>
        <p:spPr bwMode="auto">
          <a:xfrm flipV="1">
            <a:off x="1304925" y="2046288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/>
          <p:cNvCxnSpPr/>
          <p:nvPr>
            <p:custDataLst>
              <p:tags r:id="rId9"/>
            </p:custDataLst>
          </p:nvPr>
        </p:nvCxnSpPr>
        <p:spPr bwMode="auto">
          <a:xfrm flipV="1">
            <a:off x="2895600" y="2093913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/>
          <p:cNvCxnSpPr/>
          <p:nvPr>
            <p:custDataLst>
              <p:tags r:id="rId10"/>
            </p:custDataLst>
          </p:nvPr>
        </p:nvCxnSpPr>
        <p:spPr bwMode="auto">
          <a:xfrm>
            <a:off x="2895600" y="20939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to 42"/>
          <p:cNvCxnSpPr/>
          <p:nvPr>
            <p:custDataLst>
              <p:tags r:id="rId11"/>
            </p:custDataLst>
          </p:nvPr>
        </p:nvCxnSpPr>
        <p:spPr bwMode="auto">
          <a:xfrm>
            <a:off x="3181350" y="2093913"/>
            <a:ext cx="0" cy="307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/>
          <p:nvPr>
            <p:custDataLst>
              <p:tags r:id="rId12"/>
            </p:custDataLst>
          </p:nvPr>
        </p:nvCxnSpPr>
        <p:spPr bwMode="auto">
          <a:xfrm flipV="1">
            <a:off x="2105025" y="1655763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to 36"/>
          <p:cNvCxnSpPr/>
          <p:nvPr>
            <p:custDataLst>
              <p:tags r:id="rId13"/>
            </p:custDataLst>
          </p:nvPr>
        </p:nvCxnSpPr>
        <p:spPr bwMode="auto">
          <a:xfrm>
            <a:off x="1590675" y="2046288"/>
            <a:ext cx="0" cy="2984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to 38"/>
          <p:cNvCxnSpPr/>
          <p:nvPr>
            <p:custDataLst>
              <p:tags r:id="rId14"/>
            </p:custDataLst>
          </p:nvPr>
        </p:nvCxnSpPr>
        <p:spPr bwMode="auto">
          <a:xfrm>
            <a:off x="2105025" y="1655763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/>
          <p:cNvCxnSpPr/>
          <p:nvPr>
            <p:custDataLst>
              <p:tags r:id="rId15"/>
            </p:custDataLst>
          </p:nvPr>
        </p:nvCxnSpPr>
        <p:spPr bwMode="auto">
          <a:xfrm>
            <a:off x="1304925" y="2046288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/>
          <p:cNvCxnSpPr/>
          <p:nvPr>
            <p:custDataLst>
              <p:tags r:id="rId16"/>
            </p:custDataLst>
          </p:nvPr>
        </p:nvCxnSpPr>
        <p:spPr bwMode="auto">
          <a:xfrm>
            <a:off x="2386013" y="1655763"/>
            <a:ext cx="0" cy="4127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4" name="Espaço Reservado para Texto 64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722563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31065B-5D69-4ABC-BBBE-B35830998021}" type="datetime'''''''''0''7h''''''''0''''''0''''-''2''''''4''''h0''''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32" name="Espaço Reservado para Texto 6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3188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BA6F40-465C-4B71-81C3-F79BAB199C02}" type="datetime'''1''''2''''h''''''''00''''''''-1''''''''8''h''''00''''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29" name="Espaço Reservado para Texto 5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78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923DF6-CAB2-4A2B-8E9C-7A5A55C25796}" type="datetime'''''07''h''''00''''-''1''''2''''h''''''''''0''0''''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33" name="Espaço Reservado para Texto 6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927225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9B9D47-FD93-4B80-896B-9E2A99328E4D}" type="datetime'1''8''''h''0''''''0''''-''''''24''h0''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46" name="Espaço Reservado para Texto 7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273175" y="1928813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6A92A3F-5C38-4EE7-8B04-B7BA7428325C}" type="datetime'''''''-''''''''''''''''''''''''8''''''''%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8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47" name="Espaço Reservado para Texto 76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008188" y="1538288"/>
            <a:ext cx="4746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ACC8AD-3F12-4132-A20A-2F350AAF38FD}" type="datetime'''''''''-''''''''1''''''''''3''''''''''''''%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13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45" name="Espaço Reservado para Texto 7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73075" y="256698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6F8EAF7-42CA-47A1-B59F-ECEF1C4BE98B}" type="datetime'''''''''''''''-8''''''''''%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8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48" name="Espaço Reservado para Texto 77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863850" y="197643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D7F67BE-168E-4364-9738-E5453F67B689}" type="datetime'''''-''''9''''''''''''''''''''''''''''''''''''%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9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9" name="Retângulo 28"/>
          <p:cNvSpPr/>
          <p:nvPr>
            <p:custDataLst>
              <p:tags r:id="rId25"/>
            </p:custDataLst>
          </p:nvPr>
        </p:nvSpPr>
        <p:spPr bwMode="auto">
          <a:xfrm>
            <a:off x="376238" y="1166813"/>
            <a:ext cx="214313" cy="160338"/>
          </a:xfrm>
          <a:prstGeom prst="rect">
            <a:avLst/>
          </a:prstGeom>
          <a:solidFill>
            <a:srgbClr val="04621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" name="Retângulo 29"/>
          <p:cNvSpPr/>
          <p:nvPr>
            <p:custDataLst>
              <p:tags r:id="rId26"/>
            </p:custDataLst>
          </p:nvPr>
        </p:nvSpPr>
        <p:spPr bwMode="auto">
          <a:xfrm>
            <a:off x="1117600" y="1166813"/>
            <a:ext cx="214313" cy="160338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0" name="Espaço Reservado para Texto 70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41350" y="1162050"/>
            <a:ext cx="3746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901EA9-9304-4ACE-B319-5CC233EE2198}" type="datetime'''''''''''''''2''''0''''1''3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241" name="Espaço Reservado para Texto 71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382713" y="1162050"/>
            <a:ext cx="3746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53D712-9DDB-49B0-9D31-32CE9A8C1502}" type="datetime'''''''2''''''''''''''''''''''''''''''0''1''''''''''4''''''''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pic>
        <p:nvPicPr>
          <p:cNvPr id="313" name="Imagem 312"/>
          <p:cNvPicPr>
            <a:picLocks noChangeAspect="1"/>
          </p:cNvPicPr>
          <p:nvPr/>
        </p:nvPicPr>
        <p:blipFill rotWithShape="1">
          <a:blip r:embed="rId1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37" t="-1" r="14553" b="1349"/>
          <a:stretch/>
        </p:blipFill>
        <p:spPr>
          <a:xfrm>
            <a:off x="227013" y="1645104"/>
            <a:ext cx="648072" cy="540001"/>
          </a:xfrm>
          <a:prstGeom prst="rect">
            <a:avLst/>
          </a:prstGeom>
        </p:spPr>
      </p:pic>
      <p:graphicFrame>
        <p:nvGraphicFramePr>
          <p:cNvPr id="339" name="Objeto 338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734764678"/>
              </p:ext>
            </p:extLst>
          </p:nvPr>
        </p:nvGraphicFramePr>
        <p:xfrm>
          <a:off x="3695700" y="1714499"/>
          <a:ext cx="3390807" cy="2200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8" name="Gráfico" r:id="rId119" imgW="3390807" imgH="2200230" progId="MSGraph.Chart.8">
                  <p:embed followColorScheme="full"/>
                </p:oleObj>
              </mc:Choice>
              <mc:Fallback>
                <p:oleObj name="Gráfico" r:id="rId119" imgW="3390807" imgH="22002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3695700" y="1714499"/>
                        <a:ext cx="3390807" cy="2200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40" name="Conector reto 339"/>
          <p:cNvCxnSpPr/>
          <p:nvPr>
            <p:custDataLst>
              <p:tags r:id="rId30"/>
            </p:custDataLst>
          </p:nvPr>
        </p:nvCxnSpPr>
        <p:spPr bwMode="auto">
          <a:xfrm flipV="1">
            <a:off x="4048125" y="2779713"/>
            <a:ext cx="0" cy="279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1" name="Conector reto 340"/>
          <p:cNvCxnSpPr/>
          <p:nvPr>
            <p:custDataLst>
              <p:tags r:id="rId31"/>
            </p:custDataLst>
          </p:nvPr>
        </p:nvCxnSpPr>
        <p:spPr bwMode="auto">
          <a:xfrm>
            <a:off x="4048125" y="27797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2" name="Conector reto 341"/>
          <p:cNvCxnSpPr/>
          <p:nvPr>
            <p:custDataLst>
              <p:tags r:id="rId32"/>
            </p:custDataLst>
          </p:nvPr>
        </p:nvCxnSpPr>
        <p:spPr bwMode="auto">
          <a:xfrm>
            <a:off x="4333875" y="27797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3" name="Conector reto 342"/>
          <p:cNvCxnSpPr/>
          <p:nvPr>
            <p:custDataLst>
              <p:tags r:id="rId33"/>
            </p:custDataLst>
          </p:nvPr>
        </p:nvCxnSpPr>
        <p:spPr bwMode="auto">
          <a:xfrm flipV="1">
            <a:off x="4848225" y="2389188"/>
            <a:ext cx="0" cy="2508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4" name="Conector reto 343"/>
          <p:cNvCxnSpPr/>
          <p:nvPr>
            <p:custDataLst>
              <p:tags r:id="rId34"/>
            </p:custDataLst>
          </p:nvPr>
        </p:nvCxnSpPr>
        <p:spPr bwMode="auto">
          <a:xfrm flipV="1">
            <a:off x="6438900" y="2284412"/>
            <a:ext cx="0" cy="203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5" name="Conector reto 344"/>
          <p:cNvCxnSpPr/>
          <p:nvPr>
            <p:custDataLst>
              <p:tags r:id="rId35"/>
            </p:custDataLst>
          </p:nvPr>
        </p:nvCxnSpPr>
        <p:spPr bwMode="auto">
          <a:xfrm>
            <a:off x="6438900" y="22844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6" name="Conector reto 345"/>
          <p:cNvCxnSpPr/>
          <p:nvPr>
            <p:custDataLst>
              <p:tags r:id="rId36"/>
            </p:custDataLst>
          </p:nvPr>
        </p:nvCxnSpPr>
        <p:spPr bwMode="auto">
          <a:xfrm>
            <a:off x="6724650" y="22844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7" name="Conector reto 346"/>
          <p:cNvCxnSpPr/>
          <p:nvPr>
            <p:custDataLst>
              <p:tags r:id="rId37"/>
            </p:custDataLst>
          </p:nvPr>
        </p:nvCxnSpPr>
        <p:spPr bwMode="auto">
          <a:xfrm flipV="1">
            <a:off x="5648325" y="1655763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8" name="Conector reto 347"/>
          <p:cNvCxnSpPr/>
          <p:nvPr>
            <p:custDataLst>
              <p:tags r:id="rId38"/>
            </p:custDataLst>
          </p:nvPr>
        </p:nvCxnSpPr>
        <p:spPr bwMode="auto">
          <a:xfrm>
            <a:off x="5133975" y="238918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9" name="Conector reto 348"/>
          <p:cNvCxnSpPr/>
          <p:nvPr>
            <p:custDataLst>
              <p:tags r:id="rId39"/>
            </p:custDataLst>
          </p:nvPr>
        </p:nvCxnSpPr>
        <p:spPr bwMode="auto">
          <a:xfrm>
            <a:off x="5648325" y="1655763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0" name="Conector reto 349"/>
          <p:cNvCxnSpPr/>
          <p:nvPr>
            <p:custDataLst>
              <p:tags r:id="rId40"/>
            </p:custDataLst>
          </p:nvPr>
        </p:nvCxnSpPr>
        <p:spPr bwMode="auto">
          <a:xfrm>
            <a:off x="4848225" y="2389188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1" name="Conector reto 350"/>
          <p:cNvCxnSpPr/>
          <p:nvPr>
            <p:custDataLst>
              <p:tags r:id="rId41"/>
            </p:custDataLst>
          </p:nvPr>
        </p:nvCxnSpPr>
        <p:spPr bwMode="auto">
          <a:xfrm>
            <a:off x="5929313" y="1655763"/>
            <a:ext cx="0" cy="3841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2" name="Espaço Reservado para Texto 64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265863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F892AD-5E69-4770-BF58-38F3B73E6F0E}" type="datetime'''''''0''7''''''''h0''''0''-2''''4h''''''''''''0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3" name="Espaço Reservado para Texto 6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67518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D9514A-F79C-47D3-9B6E-A4D05DCB5CBB}" type="datetime'12''''''''''h0''''''''''''''''''''''''''0-''1''8h''''0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4" name="Espaço Reservado para Texto 59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87508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7C9C7F-70AE-4C91-94B3-1343CEF5E458}" type="datetime'''''''0''''''7h''0''0-''1''2h''''''''''0''''''''''''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5" name="Espaço Reservado para Texto 63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470525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0BCCA2-6AA2-45B0-9F0B-5F52DD273542}" type="datetime'1''8''''''''h0''''''''''''0''''-2''''''''''4h''''0''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6" name="Espaço Reservado para Texto 75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816475" y="2271713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50D684C-01D9-4FBB-9C8B-E3791B4DF9B9}" type="datetime'''''''''''-3''%''''''''''''''''''''''''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3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7" name="Espaço Reservado para Texto 76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551488" y="1538288"/>
            <a:ext cx="4746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95C15CE-EF16-4686-961A-34B6383BC366}" type="datetime'''''''''''''''''''-''''''''''''1''1%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11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8" name="Espaço Reservado para Texto 74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981450" y="2662238"/>
            <a:ext cx="4206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70A87290-48BC-47D8-8543-03F62A7AE594}" type="datetime'''''''+''3''''''''''''''%''''''''''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3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9" name="Espaço Reservado para Texto 77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407150" y="216693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C0184CB-FE48-42D9-AFCB-D974060C1431}" type="datetime'''''''''''''''''''-''''''''''''7''''''%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7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364" name="Objeto 363"/>
          <p:cNvGraphicFramePr>
            <a:graphicFrameLocks/>
          </p:cNvGraphicFramePr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4174104903"/>
              </p:ext>
            </p:extLst>
          </p:nvPr>
        </p:nvGraphicFramePr>
        <p:xfrm>
          <a:off x="7162799" y="1714499"/>
          <a:ext cx="3400528" cy="2200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9" name="Gráfico" r:id="rId121" imgW="3400528" imgH="2200230" progId="MSGraph.Chart.8">
                  <p:embed followColorScheme="full"/>
                </p:oleObj>
              </mc:Choice>
              <mc:Fallback>
                <p:oleObj name="Gráfico" r:id="rId121" imgW="3400528" imgH="22002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2"/>
                      <a:stretch>
                        <a:fillRect/>
                      </a:stretch>
                    </p:blipFill>
                    <p:spPr>
                      <a:xfrm>
                        <a:off x="7162799" y="1714499"/>
                        <a:ext cx="3400528" cy="2200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65" name="Conector reto 364"/>
          <p:cNvCxnSpPr/>
          <p:nvPr>
            <p:custDataLst>
              <p:tags r:id="rId51"/>
            </p:custDataLst>
          </p:nvPr>
        </p:nvCxnSpPr>
        <p:spPr bwMode="auto">
          <a:xfrm flipV="1">
            <a:off x="7534275" y="2284412"/>
            <a:ext cx="0" cy="2413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6" name="Conector reto 365"/>
          <p:cNvCxnSpPr/>
          <p:nvPr>
            <p:custDataLst>
              <p:tags r:id="rId52"/>
            </p:custDataLst>
          </p:nvPr>
        </p:nvCxnSpPr>
        <p:spPr bwMode="auto">
          <a:xfrm>
            <a:off x="7534275" y="22844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7" name="Conector reto 366"/>
          <p:cNvCxnSpPr/>
          <p:nvPr>
            <p:custDataLst>
              <p:tags r:id="rId53"/>
            </p:custDataLst>
          </p:nvPr>
        </p:nvCxnSpPr>
        <p:spPr bwMode="auto">
          <a:xfrm>
            <a:off x="7820025" y="22844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8" name="Conector reto 367"/>
          <p:cNvCxnSpPr/>
          <p:nvPr>
            <p:custDataLst>
              <p:tags r:id="rId54"/>
            </p:custDataLst>
          </p:nvPr>
        </p:nvCxnSpPr>
        <p:spPr bwMode="auto">
          <a:xfrm flipV="1">
            <a:off x="8334375" y="1979613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9" name="Conector reto 368"/>
          <p:cNvCxnSpPr/>
          <p:nvPr>
            <p:custDataLst>
              <p:tags r:id="rId55"/>
            </p:custDataLst>
          </p:nvPr>
        </p:nvCxnSpPr>
        <p:spPr bwMode="auto">
          <a:xfrm flipV="1">
            <a:off x="9925050" y="1979613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0" name="Conector reto 369"/>
          <p:cNvCxnSpPr/>
          <p:nvPr>
            <p:custDataLst>
              <p:tags r:id="rId56"/>
            </p:custDataLst>
          </p:nvPr>
        </p:nvCxnSpPr>
        <p:spPr bwMode="auto">
          <a:xfrm>
            <a:off x="9925050" y="19796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1" name="Conector reto 370"/>
          <p:cNvCxnSpPr/>
          <p:nvPr>
            <p:custDataLst>
              <p:tags r:id="rId57"/>
            </p:custDataLst>
          </p:nvPr>
        </p:nvCxnSpPr>
        <p:spPr bwMode="auto">
          <a:xfrm>
            <a:off x="10210800" y="1979614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2" name="Conector reto 371"/>
          <p:cNvCxnSpPr/>
          <p:nvPr>
            <p:custDataLst>
              <p:tags r:id="rId58"/>
            </p:custDataLst>
          </p:nvPr>
        </p:nvCxnSpPr>
        <p:spPr bwMode="auto">
          <a:xfrm flipV="1">
            <a:off x="9134475" y="1627188"/>
            <a:ext cx="0" cy="2222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3" name="Conector reto 372"/>
          <p:cNvCxnSpPr/>
          <p:nvPr>
            <p:custDataLst>
              <p:tags r:id="rId59"/>
            </p:custDataLst>
          </p:nvPr>
        </p:nvCxnSpPr>
        <p:spPr bwMode="auto">
          <a:xfrm>
            <a:off x="8620125" y="1979614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4" name="Conector reto 373"/>
          <p:cNvCxnSpPr/>
          <p:nvPr>
            <p:custDataLst>
              <p:tags r:id="rId60"/>
            </p:custDataLst>
          </p:nvPr>
        </p:nvCxnSpPr>
        <p:spPr bwMode="auto">
          <a:xfrm>
            <a:off x="9134475" y="1627188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5" name="Conector reto 374"/>
          <p:cNvCxnSpPr/>
          <p:nvPr>
            <p:custDataLst>
              <p:tags r:id="rId61"/>
            </p:custDataLst>
          </p:nvPr>
        </p:nvCxnSpPr>
        <p:spPr bwMode="auto">
          <a:xfrm>
            <a:off x="8334375" y="19796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6" name="Conector reto 375"/>
          <p:cNvCxnSpPr/>
          <p:nvPr>
            <p:custDataLst>
              <p:tags r:id="rId62"/>
            </p:custDataLst>
          </p:nvPr>
        </p:nvCxnSpPr>
        <p:spPr bwMode="auto">
          <a:xfrm>
            <a:off x="9415463" y="1627188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7" name="Espaço Reservado para Texto 64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52013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AB8497-C9B9-4BF7-A971-F0BA0C3C2EEE}" type="datetime'''0''7h''''0''''''''''''0''''-2''''''''4h''''''0''''''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78" name="Espaço Reservado para Texto 6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16133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84052A-33BC-4FC3-A29E-E11EED98D624}" type="datetime'1''2h''0''''''0''''''''''''-18''''''''''''''''''h''''''0''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79" name="Espaço Reservado para Texto 59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361238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39D946-0908-4E33-B12B-299926D4AB6C}" type="datetime'0''''''''7''''h0''''0''''''''''''-''''''1''''2''h''''''0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0" name="Espaço Reservado para Texto 63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8956675" y="39020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F13C57-EC3D-4FE2-9544-2A8849D5265A}" type="datetime'1''8''''''h''''00-2''''4''''h''''''''''''''''''''''00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1" name="Espaço Reservado para Texto 75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302625" y="186213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58F56A0-A500-4C01-801D-701D378347A4}" type="datetime'-''''''''''5''%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5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2" name="Espaço Reservado para Texto 76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9099550" y="1509713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D226AE2-8F49-444D-A9F2-B116BC31B1DC}" type="datetime'''''''''''''''''''-''''''''''''3''''''''''%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3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3" name="Espaço Reservado para Texto 74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502525" y="216693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DC4122-FE9A-4F3F-8DB2-863C5DF30BF6}" type="datetime'''''''''''''''-''2''''''''''''''''''''''''''''''%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2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4" name="Espaço Reservado para Texto 77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9893300" y="186213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E4A5DEA-9518-47ED-90F1-E493A8404094}" type="datetime'''''-''''''5''''''''''''''''''%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5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pic>
        <p:nvPicPr>
          <p:cNvPr id="389" name="Imagem 388"/>
          <p:cNvPicPr>
            <a:picLocks noChangeAspect="1"/>
          </p:cNvPicPr>
          <p:nvPr/>
        </p:nvPicPr>
        <p:blipFill>
          <a:blip r:embed="rId1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0638" y="1645104"/>
            <a:ext cx="443571" cy="449485"/>
          </a:xfrm>
          <a:prstGeom prst="rect">
            <a:avLst/>
          </a:prstGeom>
        </p:spPr>
      </p:pic>
      <p:pic>
        <p:nvPicPr>
          <p:cNvPr id="390" name="Imagem 389"/>
          <p:cNvPicPr>
            <a:picLocks noChangeAspect="1"/>
          </p:cNvPicPr>
          <p:nvPr/>
        </p:nvPicPr>
        <p:blipFill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1645104"/>
            <a:ext cx="428168" cy="428168"/>
          </a:xfrm>
          <a:prstGeom prst="rect">
            <a:avLst/>
          </a:prstGeom>
        </p:spPr>
      </p:pic>
      <p:graphicFrame>
        <p:nvGraphicFramePr>
          <p:cNvPr id="391" name="Objeto 390"/>
          <p:cNvGraphicFramePr>
            <a:graphicFrameLocks/>
          </p:cNvGraphicFramePr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3604909179"/>
              </p:ext>
            </p:extLst>
          </p:nvPr>
        </p:nvGraphicFramePr>
        <p:xfrm>
          <a:off x="228600" y="4267200"/>
          <a:ext cx="3409980" cy="21907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0" name="Gráfico" r:id="rId125" imgW="3409980" imgH="2190780" progId="MSGraph.Chart.8">
                  <p:embed followColorScheme="full"/>
                </p:oleObj>
              </mc:Choice>
              <mc:Fallback>
                <p:oleObj name="Gráfico" r:id="rId125" imgW="3409980" imgH="21907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6"/>
                      <a:stretch>
                        <a:fillRect/>
                      </a:stretch>
                    </p:blipFill>
                    <p:spPr>
                      <a:xfrm>
                        <a:off x="228600" y="4267200"/>
                        <a:ext cx="3409980" cy="21907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2" name="Conector reto 391"/>
          <p:cNvCxnSpPr/>
          <p:nvPr>
            <p:custDataLst>
              <p:tags r:id="rId72"/>
            </p:custDataLst>
          </p:nvPr>
        </p:nvCxnSpPr>
        <p:spPr bwMode="auto">
          <a:xfrm flipV="1">
            <a:off x="600075" y="4875213"/>
            <a:ext cx="0" cy="2413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3" name="Conector reto 392"/>
          <p:cNvCxnSpPr/>
          <p:nvPr>
            <p:custDataLst>
              <p:tags r:id="rId73"/>
            </p:custDataLst>
          </p:nvPr>
        </p:nvCxnSpPr>
        <p:spPr bwMode="auto">
          <a:xfrm>
            <a:off x="600075" y="48752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4" name="Conector reto 393"/>
          <p:cNvCxnSpPr/>
          <p:nvPr>
            <p:custDataLst>
              <p:tags r:id="rId74"/>
            </p:custDataLst>
          </p:nvPr>
        </p:nvCxnSpPr>
        <p:spPr bwMode="auto">
          <a:xfrm>
            <a:off x="885825" y="48752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5" name="Conector reto 394"/>
          <p:cNvCxnSpPr/>
          <p:nvPr>
            <p:custDataLst>
              <p:tags r:id="rId75"/>
            </p:custDataLst>
          </p:nvPr>
        </p:nvCxnSpPr>
        <p:spPr bwMode="auto">
          <a:xfrm flipV="1">
            <a:off x="1400175" y="4379913"/>
            <a:ext cx="0" cy="2127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6" name="Conector reto 395"/>
          <p:cNvCxnSpPr/>
          <p:nvPr>
            <p:custDataLst>
              <p:tags r:id="rId76"/>
            </p:custDataLst>
          </p:nvPr>
        </p:nvCxnSpPr>
        <p:spPr bwMode="auto">
          <a:xfrm flipV="1">
            <a:off x="2990850" y="44370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7" name="Conector reto 396"/>
          <p:cNvCxnSpPr/>
          <p:nvPr>
            <p:custDataLst>
              <p:tags r:id="rId77"/>
            </p:custDataLst>
          </p:nvPr>
        </p:nvCxnSpPr>
        <p:spPr bwMode="auto">
          <a:xfrm>
            <a:off x="2990850" y="443706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8" name="Conector reto 397"/>
          <p:cNvCxnSpPr/>
          <p:nvPr>
            <p:custDataLst>
              <p:tags r:id="rId78"/>
            </p:custDataLst>
          </p:nvPr>
        </p:nvCxnSpPr>
        <p:spPr bwMode="auto">
          <a:xfrm>
            <a:off x="3276600" y="44370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9" name="Conector reto 398"/>
          <p:cNvCxnSpPr/>
          <p:nvPr>
            <p:custDataLst>
              <p:tags r:id="rId79"/>
            </p:custDataLst>
          </p:nvPr>
        </p:nvCxnSpPr>
        <p:spPr bwMode="auto">
          <a:xfrm flipV="1">
            <a:off x="2200275" y="4132263"/>
            <a:ext cx="0" cy="2984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0" name="Conector reto 399"/>
          <p:cNvCxnSpPr/>
          <p:nvPr>
            <p:custDataLst>
              <p:tags r:id="rId80"/>
            </p:custDataLst>
          </p:nvPr>
        </p:nvCxnSpPr>
        <p:spPr bwMode="auto">
          <a:xfrm>
            <a:off x="1685925" y="43799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1" name="Conector reto 400"/>
          <p:cNvCxnSpPr/>
          <p:nvPr>
            <p:custDataLst>
              <p:tags r:id="rId81"/>
            </p:custDataLst>
          </p:nvPr>
        </p:nvCxnSpPr>
        <p:spPr bwMode="auto">
          <a:xfrm>
            <a:off x="2200275" y="4132263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2" name="Conector reto 401"/>
          <p:cNvCxnSpPr/>
          <p:nvPr>
            <p:custDataLst>
              <p:tags r:id="rId82"/>
            </p:custDataLst>
          </p:nvPr>
        </p:nvCxnSpPr>
        <p:spPr bwMode="auto">
          <a:xfrm>
            <a:off x="1400175" y="43799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3" name="Conector reto 402"/>
          <p:cNvCxnSpPr/>
          <p:nvPr>
            <p:custDataLst>
              <p:tags r:id="rId83"/>
            </p:custDataLst>
          </p:nvPr>
        </p:nvCxnSpPr>
        <p:spPr bwMode="auto">
          <a:xfrm>
            <a:off x="2481263" y="41322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4" name="Espaço Reservado para Texto 64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2817813" y="64547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1E41AA-FBEE-4D48-A01E-7EF9F90CB0E9}" type="datetime'''''''''0''7''h''''''''''''''00''''''''-''''''''24h00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5" name="Espaço Reservado para Texto 62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1227138" y="64547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CA2136-5FC7-4A5F-AF65-E90C5ECB0998}" type="datetime'''1''''2''''''''h''''''0''''0''''-''1''''''8h00''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6" name="Espaço Reservado para Texto 59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427038" y="64547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C903DB-CFB9-4C33-ABB8-5C03A8DE0673}" type="datetime'''''''0''''7h''0''0''''-''''''''''1''''''''''''''''''2''h0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7" name="Espaço Reservado para Texto 63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2022475" y="64547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EC539A-2B15-4A0A-8633-4519549A5AA2}" type="datetime'''1''8''h''''''''''''0''0-''2''''4''''''h00''''''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8" name="Espaço Reservado para Texto 75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1368425" y="426243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DABD7217-AEC5-4307-97D9-84317B0DD9C9}" type="datetime'''''''''-''''4''''''''''''''''''''''''''''''''''''''''''''%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4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09" name="Espaço Reservado para Texto 76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2130425" y="4014788"/>
            <a:ext cx="4206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20662BD-C6D7-439B-9374-65A724631AA0}" type="datetime'''''''''''''''''''''''+''2''''%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2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10" name="Espaço Reservado para Texto 74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568325" y="4757738"/>
            <a:ext cx="3508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40156D7-7430-4752-A82A-EDAB599CC0A8}" type="datetime'''''''''''-''''''''''''''''''3''''''''''''''''''''%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3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11" name="Espaço Reservado para Texto 77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2986088" y="4319588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FD97D86-885D-49EE-9A74-623E2FC5F9CF}" type="datetime'''''''''''''''''''''''''0''''%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417" name="Objeto 416"/>
          <p:cNvGraphicFramePr>
            <a:graphicFrameLocks/>
          </p:cNvGraphicFramePr>
          <p:nvPr>
            <p:custDataLst>
              <p:tags r:id="rId92"/>
            </p:custDataLst>
            <p:extLst>
              <p:ext uri="{D42A27DB-BD31-4B8C-83A1-F6EECF244321}">
                <p14:modId xmlns:p14="http://schemas.microsoft.com/office/powerpoint/2010/main" val="1411928566"/>
              </p:ext>
            </p:extLst>
          </p:nvPr>
        </p:nvGraphicFramePr>
        <p:xfrm>
          <a:off x="3771900" y="4267200"/>
          <a:ext cx="3409980" cy="21907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1" name="Gráfico" r:id="rId127" imgW="3409980" imgH="2190780" progId="MSGraph.Chart.8">
                  <p:embed followColorScheme="full"/>
                </p:oleObj>
              </mc:Choice>
              <mc:Fallback>
                <p:oleObj name="Gráfico" r:id="rId127" imgW="3409980" imgH="21907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8"/>
                      <a:stretch>
                        <a:fillRect/>
                      </a:stretch>
                    </p:blipFill>
                    <p:spPr>
                      <a:xfrm>
                        <a:off x="3771900" y="4267200"/>
                        <a:ext cx="3409980" cy="21907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18" name="Conector reto 417"/>
          <p:cNvCxnSpPr/>
          <p:nvPr>
            <p:custDataLst>
              <p:tags r:id="rId93"/>
            </p:custDataLst>
          </p:nvPr>
        </p:nvCxnSpPr>
        <p:spPr bwMode="auto">
          <a:xfrm flipV="1">
            <a:off x="4143375" y="49895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9" name="Conector reto 418"/>
          <p:cNvCxnSpPr/>
          <p:nvPr>
            <p:custDataLst>
              <p:tags r:id="rId94"/>
            </p:custDataLst>
          </p:nvPr>
        </p:nvCxnSpPr>
        <p:spPr bwMode="auto">
          <a:xfrm>
            <a:off x="4143375" y="49895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0" name="Conector reto 419"/>
          <p:cNvCxnSpPr/>
          <p:nvPr>
            <p:custDataLst>
              <p:tags r:id="rId95"/>
            </p:custDataLst>
          </p:nvPr>
        </p:nvCxnSpPr>
        <p:spPr bwMode="auto">
          <a:xfrm>
            <a:off x="4429125" y="49895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1" name="Conector reto 420"/>
          <p:cNvCxnSpPr/>
          <p:nvPr>
            <p:custDataLst>
              <p:tags r:id="rId96"/>
            </p:custDataLst>
          </p:nvPr>
        </p:nvCxnSpPr>
        <p:spPr bwMode="auto">
          <a:xfrm flipV="1">
            <a:off x="4943475" y="4818063"/>
            <a:ext cx="0" cy="4413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2" name="Conector reto 421"/>
          <p:cNvCxnSpPr/>
          <p:nvPr>
            <p:custDataLst>
              <p:tags r:id="rId97"/>
            </p:custDataLst>
          </p:nvPr>
        </p:nvCxnSpPr>
        <p:spPr bwMode="auto">
          <a:xfrm flipV="1">
            <a:off x="6534150" y="46466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3" name="Conector reto 422"/>
          <p:cNvCxnSpPr/>
          <p:nvPr>
            <p:custDataLst>
              <p:tags r:id="rId98"/>
            </p:custDataLst>
          </p:nvPr>
        </p:nvCxnSpPr>
        <p:spPr bwMode="auto">
          <a:xfrm>
            <a:off x="6534150" y="464661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4" name="Conector reto 423"/>
          <p:cNvCxnSpPr/>
          <p:nvPr>
            <p:custDataLst>
              <p:tags r:id="rId99"/>
            </p:custDataLst>
          </p:nvPr>
        </p:nvCxnSpPr>
        <p:spPr bwMode="auto">
          <a:xfrm>
            <a:off x="6819900" y="464661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5" name="Conector reto 424"/>
          <p:cNvCxnSpPr/>
          <p:nvPr>
            <p:custDataLst>
              <p:tags r:id="rId100"/>
            </p:custDataLst>
          </p:nvPr>
        </p:nvCxnSpPr>
        <p:spPr bwMode="auto">
          <a:xfrm flipV="1">
            <a:off x="5743575" y="4132263"/>
            <a:ext cx="0" cy="4413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6" name="Conector reto 425"/>
          <p:cNvCxnSpPr/>
          <p:nvPr>
            <p:custDataLst>
              <p:tags r:id="rId101"/>
            </p:custDataLst>
          </p:nvPr>
        </p:nvCxnSpPr>
        <p:spPr bwMode="auto">
          <a:xfrm>
            <a:off x="5229225" y="48180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7" name="Conector reto 426"/>
          <p:cNvCxnSpPr/>
          <p:nvPr>
            <p:custDataLst>
              <p:tags r:id="rId102"/>
            </p:custDataLst>
          </p:nvPr>
        </p:nvCxnSpPr>
        <p:spPr bwMode="auto">
          <a:xfrm>
            <a:off x="5743575" y="4132263"/>
            <a:ext cx="2809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8" name="Conector reto 427"/>
          <p:cNvCxnSpPr/>
          <p:nvPr>
            <p:custDataLst>
              <p:tags r:id="rId103"/>
            </p:custDataLst>
          </p:nvPr>
        </p:nvCxnSpPr>
        <p:spPr bwMode="auto">
          <a:xfrm>
            <a:off x="4943475" y="4818063"/>
            <a:ext cx="2857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9" name="Conector reto 428"/>
          <p:cNvCxnSpPr/>
          <p:nvPr>
            <p:custDataLst>
              <p:tags r:id="rId104"/>
            </p:custDataLst>
          </p:nvPr>
        </p:nvCxnSpPr>
        <p:spPr bwMode="auto">
          <a:xfrm>
            <a:off x="6024563" y="4132263"/>
            <a:ext cx="0" cy="269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0" name="Espaço Reservado para Texto 64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6361113" y="64547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E09C9C-0CDE-41AB-AFAF-36CE59BD2356}" type="datetime'0''7h''''''''0''''''''''''0''''-24''''''''h0''''''''0''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1" name="Espaço Reservado para Texto 62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4770438" y="64547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7C597E-9896-4571-AD37-4C609566B326}" type="datetime'''''''1''''2h''00''''-''''''''1''''''8''''h''''''''0''''''''0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2h00-18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2" name="Espaço Reservado para Texto 59"/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3970338" y="64547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E7ED4A-C735-4AB9-B192-A0B46E8C95BF}" type="datetime'''''07''''h''''''''0''0''''''''-''1''''2''h''''0''''0''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7h00-12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3" name="Espaço Reservado para Texto 63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5565775" y="6454775"/>
            <a:ext cx="631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BFEF8A-A827-4369-AD58-1A6731B21A61}" type="datetime'1''''8''''''h''''''''00-''''2''''''''''4''''''''''''h00'''">
              <a:rPr lang="en-US" sz="8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8h00-24h00</a:t>
            </a:fld>
            <a:endParaRPr lang="pt-BR" sz="8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4" name="Espaço Reservado para Texto 75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4814888" y="4700588"/>
            <a:ext cx="54451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E71518AE-1AB2-419D-8341-D6761C5D5005}" type="datetime'''+''''''''''''2''''''''''''''''''''''0''''''''''''''''%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2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5" name="Espaço Reservado para Texto 76"/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5611813" y="4014788"/>
            <a:ext cx="54451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DBAC762-4C02-495A-8790-E691632524F0}" type="datetime'''''''''''''''''''''''''''''''+''''11''''''%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+11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6" name="Espaço Reservado para Texto 74"/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4138613" y="4872038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308222FA-E9F6-4765-8BB9-B0E8766F454E}" type="datetime'''0''''%''''''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7" name="Espaço Reservado para Texto 77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6529388" y="4529138"/>
            <a:ext cx="296863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9394DB0-BEDC-44D0-BD6B-FFC6C02A8E05}" type="datetime'''''0''''''''''%''''''''''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0%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pic>
        <p:nvPicPr>
          <p:cNvPr id="440" name="Imagem 439"/>
          <p:cNvPicPr>
            <a:picLocks noChangeAspect="1"/>
          </p:cNvPicPr>
          <p:nvPr/>
        </p:nvPicPr>
        <p:blipFill>
          <a:blip r:embed="rId1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38" y="4241800"/>
            <a:ext cx="456041" cy="462260"/>
          </a:xfrm>
          <a:prstGeom prst="rect">
            <a:avLst/>
          </a:prstGeom>
        </p:spPr>
      </p:pic>
      <p:pic>
        <p:nvPicPr>
          <p:cNvPr id="441" name="Imagem 440"/>
          <p:cNvPicPr>
            <a:picLocks noChangeAspect="1"/>
          </p:cNvPicPr>
          <p:nvPr/>
        </p:nvPicPr>
        <p:blipFill rotWithShape="1">
          <a:blip r:embed="rId1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06" r="-4824" b="18665"/>
          <a:stretch/>
        </p:blipFill>
        <p:spPr>
          <a:xfrm>
            <a:off x="3795713" y="4322763"/>
            <a:ext cx="657120" cy="416433"/>
          </a:xfrm>
          <a:prstGeom prst="rect">
            <a:avLst/>
          </a:prstGeom>
        </p:spPr>
      </p:pic>
      <p:sp>
        <p:nvSpPr>
          <p:cNvPr id="442" name="CaixaDeTexto 441"/>
          <p:cNvSpPr txBox="1"/>
          <p:nvPr/>
        </p:nvSpPr>
        <p:spPr>
          <a:xfrm>
            <a:off x="7290964" y="4981575"/>
            <a:ext cx="32722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ts val="1800"/>
              </a:lnSpc>
              <a:buFont typeface="Wingdings" panose="05000000000000000000" pitchFamily="2" charset="2"/>
              <a:buChar char=""/>
            </a:pPr>
            <a:r>
              <a:rPr lang="pt-BR" sz="1600" dirty="0" smtClean="0">
                <a:latin typeface="Eras Medium ITC" panose="020B0602030504020804" pitchFamily="34" charset="0"/>
              </a:rPr>
              <a:t>Com exceção da Rede TV!, todas emissoras na média geral apresentaram queda de audiência em 2014 x 2013.</a:t>
            </a:r>
            <a:endParaRPr lang="pt-BR" sz="1600" dirty="0">
              <a:latin typeface="Eras Medium ITC" panose="020B0602030504020804" pitchFamily="34" charset="0"/>
            </a:endParaRPr>
          </a:p>
        </p:txBody>
      </p:sp>
      <p:sp>
        <p:nvSpPr>
          <p:cNvPr id="443" name="CaixaDeTexto 442"/>
          <p:cNvSpPr txBox="1"/>
          <p:nvPr/>
        </p:nvSpPr>
        <p:spPr>
          <a:xfrm>
            <a:off x="6002545" y="6909459"/>
            <a:ext cx="46001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</a:t>
            </a:r>
            <a:r>
              <a:rPr lang="pt-BR" sz="900" dirty="0" smtClean="0"/>
              <a:t>Media Workstation – PNT – 2013 e 2014 – Target: Domiciliar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2447559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3&quot;&gt;&lt;elem m_fUsage=&quot;3.43488690000000000000E+000&quot;&gt;&lt;m_msothmcolidx val=&quot;0&quot;/&gt;&lt;m_rgb r=&quot;0&quot; g=&quot;80&quot; b=&quot;0&quot;/&gt;&lt;m_ppcolschidx tagver0=&quot;23004&quot; tagname0=&quot;m_ppcolschidxUNRECOGNIZED&quot; val=&quot;0&quot;/&gt;&lt;m_nBrightness val=&quot;0&quot;/&gt;&lt;/elem&gt;&lt;elem m_fUsage=&quot;1.72900000000000010000E+000&quot;&gt;&lt;m_msothmcolidx val=&quot;0&quot;/&gt;&lt;m_rgb r=&quot;4&quot; g=&quot;62&quot; b=&quot;12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56&quot; g=&quot;20&quot; b=&quot;1f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mBNZXzmkiprxdDrXRD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O.WAvvGkWINLtMoRbEI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4hSHqqkWHhk4eCRFa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dvN2l0wkqLJho5nk4W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AfcMiv6ECk5FS2g3qlE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HhWqdpwUCbRf04lH4E1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o7JzA_0Gemc8Z8yKvh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HmJBQjkkufyzulw22js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rsTQ5jwkm4_jPGTQ2Xe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kSabQNV0ynw2ty92QnS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UZVq_H_0ScsboqdoHx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wvnbRAPkm4j0gLeU2OE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eCeZoYAkG6sIBkzwJf6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MukzZNJka6ygLsWfRDF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KFeRhhkybn1aMahFlr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pZi2cvtUOPDa9GyLZYS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NmsPUIA0eu06sCop6nB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F023wfpEGIllEAmwr3A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AxBYAYqkWh0ZfP0um6O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t1ujDITUqMocDY51EJm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EZp2EIMkmq2LrPpSDJT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NCTQmhx0SudJ_wtMEL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eSEvY4UeCwxLGWkQTH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hc6Vqj0UGVrcDez0f7f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KSLpB7cEetwFqqdvkyg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SkhaYskqh7nq8lvPz6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.UfgBee0aMOe3ywcN.r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9XXh_6Oky64hUFcD_Cy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Kea9I00uBe92j3bmYM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JwxZiSjUmTguL7IqiU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1r_QGnLkC__3Tojfbtf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xISyi9LkObnSnJcANxC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CLlRDWukC53srUnJv3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iHiqFupkSrHNp.XJedM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9cVZg_FkuSl9AsOy9aM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pdzxwp0mhASLRV0sCP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w_ByNPZEaJ0CeuhpEJE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dndTnJOECimc_EMlkZB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caBSk6GUuSKV7HC.U6w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ef2jokqUm1kxQx9nRUC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RSpbe48E6JhAumrFfM.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iGKlL7nkCadOvbm8XHc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mvMugYYkyG5pkbQFPKd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E9WjGYB0OiEvTR6cuM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Ltjp6o1kaWCUOLIvV8r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SwpF1sSEa_3q3t.oMdh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K4WzKPAUaYIM.7nsLlb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a9SAFovkqaEY6ropGS_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hm.JD9.022Us4G5db5r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M9P0pax0.FV2gV4Tbi0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c7CYk_ikWY_3Y7CosFm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UjU9WapkWmuyHheazvH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ZFiE3rekOHuo1Vr9K5g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J.P66wvUG936IPQXd_e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s8jqIIEmJbbetSzJB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28smBy8UKRfo.xnKb7V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v9nzcPE.DS06qoJTSr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D0WwwBs0SSfIcOckwyA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UlNSxyfk268qai9ccrN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IoSbBv6kCVJdS_83qrf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BDS_FuN06r5b7lMAT6m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67X54E5kmbW1D3_P09B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vFymgARkWHJTzpeiVqR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JBszw9kmSwoYSTdkg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3yTp6BsEuZFUkQ9XbKi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LUTKAntU65amqIor9.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5Q91u0mEeo7DhwNV6HC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h0QFZf4024VfHFA3.30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VmKETK06EzXJWod1SP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KoN7BQsEGbe5t1DD0Bg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WK38amnESBJF4UUDpb8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02axEw1k63KvNiulzCs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IiJfZurkOGbYVbHz.Vw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4nhAEzLEyN.am_1HYKR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ui1g2iw0Ww2OrRX4nPo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DWhSeBy0uyoKljZmxN6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w1eK090.b_WuZXaEq5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gL.lxfkKztvzIg_WhA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CfdC2wg0mY49qeOa0XP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dEyAtBRUG9hEqDqEw9u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ER7R1YzE2ppTwGygZ1G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xoV8HcUE.PJlgvqecyp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jWLlmjiUeLWuY_GNv50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CrF0G5BkSOMDQpF0gUD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zM3xxFUyuUxHTdTeYH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TLBIHS0y35__CV9g8c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8O64eW4UWCakTDJCH4b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P6JaQhl0qh2MV2ZeqW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trjdhotEGeV3MiATNqb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mwWDEAkU6hm4hniNiQZ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bx7J9pkEWPExnc00qjO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JH1QY.0KEv3aVn.62g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.MySVWw0SMfuS5B7ZgG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AzcRx9eU.ndFSSBjN9o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YnFPmPLUuYFezWX6Dyl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aQBOjRxkC1OJrxWmhe9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mgesrKNUChk2mm_XPbf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seCcNoBUiEaYHeGDARA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b6w8cmPkGrtWVakl7T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NErbzLtkOOlr3r6hhyL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kOIwyif0S0piN3ILZe9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ehCFo230GnWy388Kidq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q9RAiDvUGF5RdRqDs_A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SQmDVm106u1QUy7KHdK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yEkOWeEkGQ7CLh21TN.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GEJrziUux3UZjFfGdi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PFCHNhTUCZhk0OVp.Xr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v6jPJiDk.rsv7ssgr1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vMQdYCkE24qJql3_yZy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09F_eYuE.QQsdpa_LLI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ulKOPGck22upcxjSeng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w9hy6dW0ub0i0Tqk03P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iZPUsgNUykU2vn1KyAd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M4_2vkbU2T52k_J0qYN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C_8CYAKUOH7JTE8God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VjR9jVAU2E6E0kI3o9C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lN.Qvfe0W.6C_cUTpJ5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O.WAvvGkWINLtMoRbEI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F6HmbU0k2aDejLkUgw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s1mYBvA02aOi5TdimHH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v8omaykGzwOicymCKo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HhWqdpwUCbRf04lH4E1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dvN2l0wkqLJho5nk4WP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4hSHqqkWHhk4eCRFaG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AfcMiv6ECk5FS2g3qlE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tZYVSe2E6Z.1rwHIKz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HmJBQjkkufyzulw22js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o7JzA_0Gemc8Z8yKvh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kSabQNV0ynw2ty92QnS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rsTQ5jwkm4_jPGTQ2X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FaI5uyeU6dCiuQorsxK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UZVq_H_0ScsboqdoHxP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KFeRhhkybn1aMahFlr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EZp2EIMkmq2LrPpSDJT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hc6Vqj0UGVrcDez0f7f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eCeZoYAkG6sIBkzwJf6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pZi2cvtUOPDa9GyLZYS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KSLpB7cEetwFqqdvkyg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AxBYAYqkWh0ZfP0um6O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NCTQmhx0SudJ_wtMELF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F023wfpEGIllEAmwr3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54tCXV0kWHDNtLjOyDO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NmsPUIA0eu06sCop6nB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MukzZNJka6ygLsWfRDF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t1ujDITUqMocDY51EJm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CLlRDWukC53srUnJv3p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1r_QGnLkC__3Tojfbtf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JwxZiSjUmTguL7IqiUC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xISyi9LkObnSnJcANxC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SkhaYskqh7nq8lvPz6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lKea9I00uBe92j3bmYM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.UfgBee0aMOe3ywcN.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1yMpMk02KSTeEwSYMY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9XXh_6Oky64hUFcD_Cy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9cVZg_FkuSl9AsOy9aM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dndTnJOECimc_EMlkZB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caBSk6GUuSKV7HC.U6w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a9SAFovkqaEY6ropGS_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iGKlL7nkCadOvbm8XHc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ef2jokqUm1kxQx9nRUC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RSpbe48E6JhAumrFfM.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K4WzKPAUaYIM.7nsLlb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w_ByNPZEaJ0CeuhpEJ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rWt2Q8xkGz13PG6OFy9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SwpF1sSEa_3q3t.oMdh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pdzxwp0mhASLRV0sCP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mvMugYYkyG5pkbQFPKd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E9WjGYB0OiEvTR6cuM4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v9nzcPE.DS06qoJTSr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J.P66wvUG936IPQXd_e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ZFiE3rekOHuo1Vr9K5g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s8jqIIEmJbbetSzJBZ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hm.JD9.022Us4G5db5r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UjU9WapkWmuyHheazv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jXecx_nkyH4ldchPWzr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M9P0pax0.FV2gV4Tbi0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c7CYk_ikWY_3Y7CosFm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D0WwwBs0SSfIcOckwyA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UlNSxyfk268qai9ccrN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IoSbBv6kCVJdS_83qrf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67X54E5kmbW1D3_P09B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3yTp6BsEuZFUkQ9XbKi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KoN7BQsEGbe5t1DD0Bg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VmKETK06EzXJWod1SP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LUTKAntU65amqIor9.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FzP1S9ZUqdE7tQKQ.Cy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h0QFZf4024VfHFA3.30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WK38amnESBJF4UUDpb8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vFymgARkWHJTzpeiVqR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JBszw9kmSwoYSTdkgy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BDS_FuN06r5b7lMAT6m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4nhAEzLEyN.am_1HYKR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dEyAtBRUG9hEqDqEw9u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w1eK090.b_WuZXaEq5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DWhSeBy0uyoKljZmxN6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CfdC2wg0mY49qeOa0X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2dT7SynUad6YEuG6PAT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02axEw1k63KvNiulzCs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ui1g2iw0Ww2OrRX4nP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IiJfZurkOGbYVbHz.Vw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ER7R1YzE2ppTwGygZ1G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jWLlmjiUeLWuY_GNv50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P6JaQhl0qh2MV2ZeqWG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8O64eW4UWCakTDJCH4b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JH1QY.0KEv3aVn.62g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bx7J9pkEWPExnc00qjO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AzcRx9eU.ndFSSBjN9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hqEvndpkKv8.Cgfc2gW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mwWDEAkU6hm4hniNiQZ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.MySVWw0SMfuS5B7ZgG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zM3xxFUyuUxHTdTeYH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CrF0G5BkSOMDQpF0gUD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xoV8HcUE.PJlgvqecyp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TLBIHS0y35__CV9g8c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b6w8cmPkGrtWVakl7TU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q9RAiDvUGF5RdRqDs_A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ehCFo230GnWy388Kidq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kOIwyif0S0piN3ILZe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cv8zl09kSQMbg7lqjfa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YnFPmPLUuYFezWX6Dyl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seCcNoBUiEaYHeGDARA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aQBOjRxkC1OJrxWmhe9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mgesrKNUChk2mm_XPbf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FzPSdpLEq1cI.KF7U6C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0Lu2qeUGq6.4s.NfbH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_BLbCI0KFtSmfVkjMA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b93szuUCYyT09nkh7Z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I1KbkS02Cn__e3MZaB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WNOa_4k2q9G93c6tVP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aEsDgm1UG4Gg24.yVIP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U3dZa_Q0.Z9aD8ILHX4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pyBAX1M06Ib39elKHQM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2B4FCLS0eU8oixPKfTD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QviTEJk.qa14MifDr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.3ZqCU.EO4NYr8BnYTX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CfbzPQU6oqdIbY2qar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nlW.0l4EewDwZyaqWDd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ownVlJlU6CaacOAcUM0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3Nn9RpykOfJKNSmRZPL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YEUGZIGECApbObwDsF_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tloWpAAkGe4Kkzadha8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_iIypahEyLhZe89mBuG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PWVhCer0yY1ACahLQFZ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aT8E5O2UqoxxURC6g44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N2Axgp.0y0o1FcXPwO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f3Et_x7kafuNXYci5B7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L_2TQArkmNz6KQeEvKb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OYXwx.CUugHIMi74hjx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0Lu2qeUGq6.4s.NfbH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b93szuUCYyT09nkh7Z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_BLbCI0KFtSmfVkjMA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I1KbkS02Cn__e3MZaB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pyBAX1M06Ib39elKHQM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CfbzPQU6oqdIbY2qa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5vEFY5OUOrzLY3WMU3x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2B4FCLS0eU8oixPKfTD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WNOa_4k2q9G93c6tVP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aEsDgm1UG4Gg24.yVIP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QviTEJk.qa14MifDrC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U3dZa_Q0.Z9aD8ILHX4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nlW.0l4EewDwZyaqWDd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gtXz..eECibJIeS.o2T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v74tF60OXGO6oHQTYa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QP6PFhxU23fbH3aWynN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tloWpAAkGe4Kkzadha8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LdS_hzr0..WbkLklmaI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N2Axgp.0y0o1FcXPwOy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OYXwx.CUugHIMi74hjx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2khA9uKkWuVdSctm.te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_iIypahEyLhZe89mBuG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aT8E5O2UqoxxURC6g44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L_2TQArkmNz6KQeEvKb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azcbl8_0qK6EkZR6GZa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pmKRVs.06W8ueNVP5s.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SSRVRy80iTSKg9NwQD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XXI9U8zk6Q_KhO2nUeB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ukiJbxzUCeb9tG2XA5N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D3RaKR206VJ.9gbfCNq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_g6VYKykmHa6PfjVez6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kOE_cDT0m_7om8WEB8j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9vG3HPg0uLpRfIeimsz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8a2aPpDUC3eY0mR5XKG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pJteloWkCf.u31zxkjP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4h9.30kOSKVO2_rosP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zBTj7foUqS.Z7qCTPmp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KCXeYns0S6JqN0vTRz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Oo_pXnOUuVyn.VOkvz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mbjx8jq0yFodKq0keP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ARX9YmlUaj30wYC_nb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WFMxhpbU.itTiRN8E5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76xQdQmUmlEdxWvVTX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7uFcmY80SEK8rFnZGG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XDxwfnm0u4P2kbnemd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0kjkwc00CpCnObGkuW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MnQnYmKUecOkfcYwbdE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drHzHJo0ajeS3CfIxgX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iHiqFupkSrHNp.XJedM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Ltjp6o1kaWCUOLIvV8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qxxu3nOECe.dikWbaS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8uJuiH_02duTu7ElNCX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xEbotsg02Aba6JCONVS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wvnbRAPkm4j0gLeU2O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fagHXx7ki2dNAclnX.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S81DSddEKcV5v9rAv3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E7OmA0kuZe0Z4I4Np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2.QS3beU.4J.BLHNsjb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28smBy8UKRfo.xnKb7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mBNZXzmkiprxdDrXRD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0hUZqfEC0IG.LlXL2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sCRwJjm0iDiumyGauH.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1_eL6XECE0q.uX5Cro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NErbzLtkOOlr3r6hhy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trjdhotEGeV3MiATNq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2.QS3beU.4J.BLHNsjb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s1mYBvA02aOi5TdimH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5fNrFmHke8lEo97p3a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5Q91u0mEeo7DhwNV6HC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vMQdYCkE24qJql3_yZy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gL.lxfkKztvzIg_WhA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fG_AlAaEqaI6qNHq93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nFMhZb70.7D_N0kukX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eq6rmr.UaOMUx_WinH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54tCXV0kWHDNtLjOyDO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FaI5uyeU6dCiuQorsx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0hUZqfEC0IG.LlXL2T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1yMpMk02KSTeEwSYM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rWt2Q8xkGz13PG6OFy9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SQmDVm106u1QUy7KHdK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C_8CYAKUOH7JTE8God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iZPUsgNUykU2vn1KyA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w9hy6dW0ub0i0Tqk03P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09F_eYuE.QQsdpa_LLI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PFCHNhTUCZhk0OVp.X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8uJuiH_02duTu7ElNCX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M4_2vkbU2T52k_J0qY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v6jPJiDk.rsv7ssgr1s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lN.Qvfe0W.6C_cUTpJ5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VjR9jVAU2E6E0kI3o9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yEkOWeEkGQ7CLh21TN.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GEJrziUux3UZjFfGdi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ulKOPGck22upcxjSeng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tZYVSe2E6Z.1rwHIKzT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F6HmbU0k2aDejLkUgw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v8omaykGzwOicymCKoQ"/>
</p:tagLst>
</file>

<file path=ppt/theme/theme1.xml><?xml version="1.0" encoding="utf-8"?>
<a:theme xmlns:a="http://schemas.openxmlformats.org/drawingml/2006/main" name="Office Theme">
  <a:themeElements>
    <a:clrScheme name="Concurso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9</TotalTime>
  <Words>1209</Words>
  <Application>Microsoft Office PowerPoint</Application>
  <PresentationFormat>Personalizar</PresentationFormat>
  <Paragraphs>263</Paragraphs>
  <Slides>18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8</vt:i4>
      </vt:variant>
    </vt:vector>
  </HeadingPairs>
  <TitlesOfParts>
    <vt:vector size="27" baseType="lpstr">
      <vt:lpstr>MS PGothic</vt:lpstr>
      <vt:lpstr>Arial</vt:lpstr>
      <vt:lpstr>Calibri</vt:lpstr>
      <vt:lpstr>Eras Demi ITC</vt:lpstr>
      <vt:lpstr>Eras Medium ITC</vt:lpstr>
      <vt:lpstr>Wingdings</vt:lpstr>
      <vt:lpstr>Office Theme</vt:lpstr>
      <vt:lpstr>Slide do think-cell</vt:lpstr>
      <vt:lpstr>Gráfic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ássio Soares</dc:creator>
  <cp:lastModifiedBy>Filipe Rodrigues Pereira</cp:lastModifiedBy>
  <cp:revision>163</cp:revision>
  <dcterms:created xsi:type="dcterms:W3CDTF">2014-04-01T20:14:56Z</dcterms:created>
  <dcterms:modified xsi:type="dcterms:W3CDTF">2015-03-27T15:11:14Z</dcterms:modified>
</cp:coreProperties>
</file>